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</p:sldMasterIdLst>
  <p:notesMasterIdLst>
    <p:notesMasterId r:id="rId17"/>
  </p:notesMasterIdLst>
  <p:handoutMasterIdLst>
    <p:handoutMasterId r:id="rId18"/>
  </p:handoutMasterIdLst>
  <p:sldIdLst>
    <p:sldId id="3724" r:id="rId5"/>
    <p:sldId id="3726" r:id="rId6"/>
    <p:sldId id="3773" r:id="rId7"/>
    <p:sldId id="3772" r:id="rId8"/>
    <p:sldId id="3774" r:id="rId9"/>
    <p:sldId id="3780" r:id="rId10"/>
    <p:sldId id="3781" r:id="rId11"/>
    <p:sldId id="3782" r:id="rId12"/>
    <p:sldId id="3775" r:id="rId13"/>
    <p:sldId id="1171" r:id="rId14"/>
    <p:sldId id="3783" r:id="rId15"/>
    <p:sldId id="3770" r:id="rId16"/>
  </p:sldIdLst>
  <p:sldSz cx="12192000" cy="6858000"/>
  <p:notesSz cx="7104063" cy="10234613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B638"/>
    <a:srgbClr val="FF791E"/>
    <a:srgbClr val="C4262E"/>
    <a:srgbClr val="F8F8F8"/>
    <a:srgbClr val="EBEBEB"/>
    <a:srgbClr val="EEEEEE"/>
    <a:srgbClr val="D13B3B"/>
    <a:srgbClr val="F6D8D8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68CE9EA-A3DC-4681-81A8-EBC70DAABE6E}" v="27" dt="2024-12-09T13:20:14.892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29" autoAdjust="0"/>
  </p:normalViewPr>
  <p:slideViewPr>
    <p:cSldViewPr snapToGrid="0">
      <p:cViewPr varScale="1">
        <p:scale>
          <a:sx n="77" d="100"/>
          <a:sy n="77" d="100"/>
        </p:scale>
        <p:origin x="2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3954" y="6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nninger, Christian" userId="f256076c-be75-4ba0-9fbc-fcb58856680c" providerId="ADAL" clId="{B68CE9EA-A3DC-4681-81A8-EBC70DAABE6E}"/>
    <pc:docChg chg="undo custSel addSld delSld modSld">
      <pc:chgData name="Ganninger, Christian" userId="f256076c-be75-4ba0-9fbc-fcb58856680c" providerId="ADAL" clId="{B68CE9EA-A3DC-4681-81A8-EBC70DAABE6E}" dt="2024-12-06T12:34:23.245" v="2762" actId="20577"/>
      <pc:docMkLst>
        <pc:docMk/>
      </pc:docMkLst>
      <pc:sldChg chg="del">
        <pc:chgData name="Ganninger, Christian" userId="f256076c-be75-4ba0-9fbc-fcb58856680c" providerId="ADAL" clId="{B68CE9EA-A3DC-4681-81A8-EBC70DAABE6E}" dt="2024-12-02T13:01:30.671" v="1203" actId="47"/>
        <pc:sldMkLst>
          <pc:docMk/>
          <pc:sldMk cId="420011485" sldId="1163"/>
        </pc:sldMkLst>
      </pc:sldChg>
      <pc:sldChg chg="addSp modSp mod">
        <pc:chgData name="Ganninger, Christian" userId="f256076c-be75-4ba0-9fbc-fcb58856680c" providerId="ADAL" clId="{B68CE9EA-A3DC-4681-81A8-EBC70DAABE6E}" dt="2024-12-04T10:48:35.836" v="2743" actId="20577"/>
        <pc:sldMkLst>
          <pc:docMk/>
          <pc:sldMk cId="514169540" sldId="1171"/>
        </pc:sldMkLst>
        <pc:spChg chg="mod">
          <ac:chgData name="Ganninger, Christian" userId="f256076c-be75-4ba0-9fbc-fcb58856680c" providerId="ADAL" clId="{B68CE9EA-A3DC-4681-81A8-EBC70DAABE6E}" dt="2024-12-04T10:48:35.836" v="2743" actId="20577"/>
          <ac:spMkLst>
            <pc:docMk/>
            <pc:sldMk cId="514169540" sldId="1171"/>
            <ac:spMk id="2" creationId="{465E6D65-ACC5-4155-B1A4-7DA6EAE5D717}"/>
          </ac:spMkLst>
        </pc:spChg>
        <pc:spChg chg="mod">
          <ac:chgData name="Ganninger, Christian" userId="f256076c-be75-4ba0-9fbc-fcb58856680c" providerId="ADAL" clId="{B68CE9EA-A3DC-4681-81A8-EBC70DAABE6E}" dt="2024-12-02T15:17:54.613" v="2017" actId="20577"/>
          <ac:spMkLst>
            <pc:docMk/>
            <pc:sldMk cId="514169540" sldId="1171"/>
            <ac:spMk id="5124" creationId="{00000000-0000-0000-0000-000000000000}"/>
          </ac:spMkLst>
        </pc:spChg>
        <pc:picChg chg="add mod modCrop">
          <ac:chgData name="Ganninger, Christian" userId="f256076c-be75-4ba0-9fbc-fcb58856680c" providerId="ADAL" clId="{B68CE9EA-A3DC-4681-81A8-EBC70DAABE6E}" dt="2024-12-02T15:32:58.771" v="2677" actId="1076"/>
          <ac:picMkLst>
            <pc:docMk/>
            <pc:sldMk cId="514169540" sldId="1171"/>
            <ac:picMk id="4" creationId="{C6728BA1-9975-D66D-587D-AE93EE2BFB8D}"/>
          </ac:picMkLst>
        </pc:picChg>
        <pc:picChg chg="mod">
          <ac:chgData name="Ganninger, Christian" userId="f256076c-be75-4ba0-9fbc-fcb58856680c" providerId="ADAL" clId="{B68CE9EA-A3DC-4681-81A8-EBC70DAABE6E}" dt="2024-12-02T15:33:08.637" v="2680" actId="14100"/>
          <ac:picMkLst>
            <pc:docMk/>
            <pc:sldMk cId="514169540" sldId="1171"/>
            <ac:picMk id="12" creationId="{4788B8F0-E77B-4B09-8172-D942107458A8}"/>
          </ac:picMkLst>
        </pc:picChg>
      </pc:sldChg>
      <pc:sldChg chg="addSp modSp mod">
        <pc:chgData name="Ganninger, Christian" userId="f256076c-be75-4ba0-9fbc-fcb58856680c" providerId="ADAL" clId="{B68CE9EA-A3DC-4681-81A8-EBC70DAABE6E}" dt="2024-12-06T12:32:22.468" v="2744" actId="6549"/>
        <pc:sldMkLst>
          <pc:docMk/>
          <pc:sldMk cId="1649721373" sldId="3724"/>
        </pc:sldMkLst>
        <pc:spChg chg="add mod">
          <ac:chgData name="Ganninger, Christian" userId="f256076c-be75-4ba0-9fbc-fcb58856680c" providerId="ADAL" clId="{B68CE9EA-A3DC-4681-81A8-EBC70DAABE6E}" dt="2024-12-02T12:17:29.181" v="131" actId="14100"/>
          <ac:spMkLst>
            <pc:docMk/>
            <pc:sldMk cId="1649721373" sldId="3724"/>
            <ac:spMk id="6" creationId="{3B95E1BC-7535-8B26-9010-89BA606FC194}"/>
          </ac:spMkLst>
        </pc:spChg>
        <pc:spChg chg="add mod">
          <ac:chgData name="Ganninger, Christian" userId="f256076c-be75-4ba0-9fbc-fcb58856680c" providerId="ADAL" clId="{B68CE9EA-A3DC-4681-81A8-EBC70DAABE6E}" dt="2024-12-02T12:18:03.896" v="138" actId="1076"/>
          <ac:spMkLst>
            <pc:docMk/>
            <pc:sldMk cId="1649721373" sldId="3724"/>
            <ac:spMk id="8" creationId="{2BB12FF8-65E4-B56B-2452-8096688E4E3B}"/>
          </ac:spMkLst>
        </pc:spChg>
        <pc:spChg chg="mod">
          <ac:chgData name="Ganninger, Christian" userId="f256076c-be75-4ba0-9fbc-fcb58856680c" providerId="ADAL" clId="{B68CE9EA-A3DC-4681-81A8-EBC70DAABE6E}" dt="2024-12-06T12:32:22.468" v="2744" actId="6549"/>
          <ac:spMkLst>
            <pc:docMk/>
            <pc:sldMk cId="1649721373" sldId="3724"/>
            <ac:spMk id="10" creationId="{C0F81A3C-DE91-4ACA-9021-0F97C454C809}"/>
          </ac:spMkLst>
        </pc:spChg>
        <pc:spChg chg="mod">
          <ac:chgData name="Ganninger, Christian" userId="f256076c-be75-4ba0-9fbc-fcb58856680c" providerId="ADAL" clId="{B68CE9EA-A3DC-4681-81A8-EBC70DAABE6E}" dt="2024-12-02T12:11:20.939" v="9" actId="20577"/>
          <ac:spMkLst>
            <pc:docMk/>
            <pc:sldMk cId="1649721373" sldId="3724"/>
            <ac:spMk id="12" creationId="{0608884C-3B29-465D-94E5-A06A84A4092C}"/>
          </ac:spMkLst>
        </pc:spChg>
        <pc:spChg chg="mod">
          <ac:chgData name="Ganninger, Christian" userId="f256076c-be75-4ba0-9fbc-fcb58856680c" providerId="ADAL" clId="{B68CE9EA-A3DC-4681-81A8-EBC70DAABE6E}" dt="2024-12-02T12:12:55.482" v="90" actId="20577"/>
          <ac:spMkLst>
            <pc:docMk/>
            <pc:sldMk cId="1649721373" sldId="3724"/>
            <ac:spMk id="13" creationId="{AB3189BD-7B36-43F7-8C7F-DEC33D54D259}"/>
          </ac:spMkLst>
        </pc:spChg>
        <pc:picChg chg="add mod ord modCrop">
          <ac:chgData name="Ganninger, Christian" userId="f256076c-be75-4ba0-9fbc-fcb58856680c" providerId="ADAL" clId="{B68CE9EA-A3DC-4681-81A8-EBC70DAABE6E}" dt="2024-12-02T12:18:13.765" v="140" actId="166"/>
          <ac:picMkLst>
            <pc:docMk/>
            <pc:sldMk cId="1649721373" sldId="3724"/>
            <ac:picMk id="3" creationId="{9DC329F9-8838-67A2-D3DF-67CE030BDD68}"/>
          </ac:picMkLst>
        </pc:picChg>
        <pc:picChg chg="add mod ord modCrop">
          <ac:chgData name="Ganninger, Christian" userId="f256076c-be75-4ba0-9fbc-fcb58856680c" providerId="ADAL" clId="{B68CE9EA-A3DC-4681-81A8-EBC70DAABE6E}" dt="2024-12-02T12:17:23.301" v="130" actId="1076"/>
          <ac:picMkLst>
            <pc:docMk/>
            <pc:sldMk cId="1649721373" sldId="3724"/>
            <ac:picMk id="5" creationId="{29C5364C-257F-6F22-6791-51F3E56DAA32}"/>
          </ac:picMkLst>
        </pc:picChg>
        <pc:picChg chg="mod">
          <ac:chgData name="Ganninger, Christian" userId="f256076c-be75-4ba0-9fbc-fcb58856680c" providerId="ADAL" clId="{B68CE9EA-A3DC-4681-81A8-EBC70DAABE6E}" dt="2024-12-02T12:17:03.666" v="126" actId="1076"/>
          <ac:picMkLst>
            <pc:docMk/>
            <pc:sldMk cId="1649721373" sldId="3724"/>
            <ac:picMk id="18434" creationId="{25FF782E-FF02-4788-917C-65ED11DD0A99}"/>
          </ac:picMkLst>
        </pc:picChg>
      </pc:sldChg>
      <pc:sldChg chg="addSp delSp modSp mod">
        <pc:chgData name="Ganninger, Christian" userId="f256076c-be75-4ba0-9fbc-fcb58856680c" providerId="ADAL" clId="{B68CE9EA-A3DC-4681-81A8-EBC70DAABE6E}" dt="2024-12-02T12:38:34.699" v="244" actId="14100"/>
        <pc:sldMkLst>
          <pc:docMk/>
          <pc:sldMk cId="1078372322" sldId="3726"/>
        </pc:sldMkLst>
        <pc:spChg chg="mod">
          <ac:chgData name="Ganninger, Christian" userId="f256076c-be75-4ba0-9fbc-fcb58856680c" providerId="ADAL" clId="{B68CE9EA-A3DC-4681-81A8-EBC70DAABE6E}" dt="2024-12-02T12:31:27.996" v="172" actId="20577"/>
          <ac:spMkLst>
            <pc:docMk/>
            <pc:sldMk cId="1078372322" sldId="3726"/>
            <ac:spMk id="5" creationId="{1DA1222D-E574-4041-8F6F-76D9DCF3E322}"/>
          </ac:spMkLst>
        </pc:spChg>
        <pc:spChg chg="mod">
          <ac:chgData name="Ganninger, Christian" userId="f256076c-be75-4ba0-9fbc-fcb58856680c" providerId="ADAL" clId="{B68CE9EA-A3DC-4681-81A8-EBC70DAABE6E}" dt="2024-12-02T12:38:17.646" v="240"/>
          <ac:spMkLst>
            <pc:docMk/>
            <pc:sldMk cId="1078372322" sldId="3726"/>
            <ac:spMk id="9" creationId="{E0556024-9F14-85DD-8F4F-D25BAF2614E0}"/>
          </ac:spMkLst>
        </pc:spChg>
        <pc:spChg chg="mod">
          <ac:chgData name="Ganninger, Christian" userId="f256076c-be75-4ba0-9fbc-fcb58856680c" providerId="ADAL" clId="{B68CE9EA-A3DC-4681-81A8-EBC70DAABE6E}" dt="2024-12-02T12:38:17.646" v="240"/>
          <ac:spMkLst>
            <pc:docMk/>
            <pc:sldMk cId="1078372322" sldId="3726"/>
            <ac:spMk id="10" creationId="{B78B77DF-62E0-4FBF-9B07-9208F4AF51F7}"/>
          </ac:spMkLst>
        </pc:spChg>
        <pc:spChg chg="mod">
          <ac:chgData name="Ganninger, Christian" userId="f256076c-be75-4ba0-9fbc-fcb58856680c" providerId="ADAL" clId="{B68CE9EA-A3DC-4681-81A8-EBC70DAABE6E}" dt="2024-12-02T12:38:17.646" v="240"/>
          <ac:spMkLst>
            <pc:docMk/>
            <pc:sldMk cId="1078372322" sldId="3726"/>
            <ac:spMk id="12" creationId="{576EAD7E-26F1-1B62-6DCB-45265E734444}"/>
          </ac:spMkLst>
        </pc:spChg>
        <pc:spChg chg="mod">
          <ac:chgData name="Ganninger, Christian" userId="f256076c-be75-4ba0-9fbc-fcb58856680c" providerId="ADAL" clId="{B68CE9EA-A3DC-4681-81A8-EBC70DAABE6E}" dt="2024-12-02T12:38:17.646" v="240"/>
          <ac:spMkLst>
            <pc:docMk/>
            <pc:sldMk cId="1078372322" sldId="3726"/>
            <ac:spMk id="13" creationId="{E8CCD833-4A93-7254-A63B-B1F9C7602E28}"/>
          </ac:spMkLst>
        </pc:spChg>
        <pc:spChg chg="mod">
          <ac:chgData name="Ganninger, Christian" userId="f256076c-be75-4ba0-9fbc-fcb58856680c" providerId="ADAL" clId="{B68CE9EA-A3DC-4681-81A8-EBC70DAABE6E}" dt="2024-12-02T12:33:28.848" v="237" actId="20577"/>
          <ac:spMkLst>
            <pc:docMk/>
            <pc:sldMk cId="1078372322" sldId="3726"/>
            <ac:spMk id="15" creationId="{0A80C493-F2F7-438E-8575-B52466CD2423}"/>
          </ac:spMkLst>
        </pc:spChg>
        <pc:grpChg chg="add mod">
          <ac:chgData name="Ganninger, Christian" userId="f256076c-be75-4ba0-9fbc-fcb58856680c" providerId="ADAL" clId="{B68CE9EA-A3DC-4681-81A8-EBC70DAABE6E}" dt="2024-12-02T12:38:34.699" v="244" actId="14100"/>
          <ac:grpSpMkLst>
            <pc:docMk/>
            <pc:sldMk cId="1078372322" sldId="3726"/>
            <ac:grpSpMk id="2" creationId="{3368E0DE-CA1D-1C5D-615F-7080EE2906F8}"/>
          </ac:grpSpMkLst>
        </pc:grpChg>
        <pc:grpChg chg="mod">
          <ac:chgData name="Ganninger, Christian" userId="f256076c-be75-4ba0-9fbc-fcb58856680c" providerId="ADAL" clId="{B68CE9EA-A3DC-4681-81A8-EBC70DAABE6E}" dt="2024-12-02T12:38:17.646" v="240"/>
          <ac:grpSpMkLst>
            <pc:docMk/>
            <pc:sldMk cId="1078372322" sldId="3726"/>
            <ac:grpSpMk id="3" creationId="{33CCB810-323B-2E3B-20E3-44FC1C922D4F}"/>
          </ac:grpSpMkLst>
        </pc:grpChg>
        <pc:grpChg chg="mod">
          <ac:chgData name="Ganninger, Christian" userId="f256076c-be75-4ba0-9fbc-fcb58856680c" providerId="ADAL" clId="{B68CE9EA-A3DC-4681-81A8-EBC70DAABE6E}" dt="2024-12-02T12:38:17.646" v="240"/>
          <ac:grpSpMkLst>
            <pc:docMk/>
            <pc:sldMk cId="1078372322" sldId="3726"/>
            <ac:grpSpMk id="7" creationId="{36D130FA-E20C-AFBD-05F9-0926D9FBABB1}"/>
          </ac:grpSpMkLst>
        </pc:grpChg>
        <pc:picChg chg="mod">
          <ac:chgData name="Ganninger, Christian" userId="f256076c-be75-4ba0-9fbc-fcb58856680c" providerId="ADAL" clId="{B68CE9EA-A3DC-4681-81A8-EBC70DAABE6E}" dt="2024-12-02T12:38:17.646" v="240"/>
          <ac:picMkLst>
            <pc:docMk/>
            <pc:sldMk cId="1078372322" sldId="3726"/>
            <ac:picMk id="6" creationId="{8929EBC2-7622-C4C0-9239-3542F576C08C}"/>
          </ac:picMkLst>
        </pc:picChg>
        <pc:picChg chg="mod">
          <ac:chgData name="Ganninger, Christian" userId="f256076c-be75-4ba0-9fbc-fcb58856680c" providerId="ADAL" clId="{B68CE9EA-A3DC-4681-81A8-EBC70DAABE6E}" dt="2024-12-02T12:38:07.193" v="239" actId="14100"/>
          <ac:picMkLst>
            <pc:docMk/>
            <pc:sldMk cId="1078372322" sldId="3726"/>
            <ac:picMk id="8" creationId="{6ABED557-6126-403F-9DB8-79EB29F27F23}"/>
          </ac:picMkLst>
        </pc:picChg>
        <pc:picChg chg="del">
          <ac:chgData name="Ganninger, Christian" userId="f256076c-be75-4ba0-9fbc-fcb58856680c" providerId="ADAL" clId="{B68CE9EA-A3DC-4681-81A8-EBC70DAABE6E}" dt="2024-12-02T12:33:22.810" v="236" actId="478"/>
          <ac:picMkLst>
            <pc:docMk/>
            <pc:sldMk cId="1078372322" sldId="3726"/>
            <ac:picMk id="11" creationId="{BC26BD45-9417-408E-A74C-E251C22BAFD0}"/>
          </ac:picMkLst>
        </pc:picChg>
        <pc:picChg chg="mod">
          <ac:chgData name="Ganninger, Christian" userId="f256076c-be75-4ba0-9fbc-fcb58856680c" providerId="ADAL" clId="{B68CE9EA-A3DC-4681-81A8-EBC70DAABE6E}" dt="2024-12-02T12:38:17.646" v="240"/>
          <ac:picMkLst>
            <pc:docMk/>
            <pc:sldMk cId="1078372322" sldId="3726"/>
            <ac:picMk id="14" creationId="{E28D3DC3-F166-445C-9613-03037CB6123A}"/>
          </ac:picMkLst>
        </pc:picChg>
      </pc:sldChg>
      <pc:sldChg chg="del">
        <pc:chgData name="Ganninger, Christian" userId="f256076c-be75-4ba0-9fbc-fcb58856680c" providerId="ADAL" clId="{B68CE9EA-A3DC-4681-81A8-EBC70DAABE6E}" dt="2024-12-02T13:01:37.098" v="1208" actId="47"/>
        <pc:sldMkLst>
          <pc:docMk/>
          <pc:sldMk cId="643515301" sldId="3771"/>
        </pc:sldMkLst>
      </pc:sldChg>
      <pc:sldChg chg="addSp delSp modSp mod">
        <pc:chgData name="Ganninger, Christian" userId="f256076c-be75-4ba0-9fbc-fcb58856680c" providerId="ADAL" clId="{B68CE9EA-A3DC-4681-81A8-EBC70DAABE6E}" dt="2024-12-06T12:34:23.245" v="2762" actId="20577"/>
        <pc:sldMkLst>
          <pc:docMk/>
          <pc:sldMk cId="3309345998" sldId="3772"/>
        </pc:sldMkLst>
        <pc:spChg chg="mod">
          <ac:chgData name="Ganninger, Christian" userId="f256076c-be75-4ba0-9fbc-fcb58856680c" providerId="ADAL" clId="{B68CE9EA-A3DC-4681-81A8-EBC70DAABE6E}" dt="2024-12-06T12:34:23.245" v="2762" actId="20577"/>
          <ac:spMkLst>
            <pc:docMk/>
            <pc:sldMk cId="3309345998" sldId="3772"/>
            <ac:spMk id="2" creationId="{A2964DFC-EB59-470B-BB6A-957202FC3DDC}"/>
          </ac:spMkLst>
        </pc:spChg>
        <pc:spChg chg="mod">
          <ac:chgData name="Ganninger, Christian" userId="f256076c-be75-4ba0-9fbc-fcb58856680c" providerId="ADAL" clId="{B68CE9EA-A3DC-4681-81A8-EBC70DAABE6E}" dt="2024-12-02T12:48:27.588" v="814" actId="20577"/>
          <ac:spMkLst>
            <pc:docMk/>
            <pc:sldMk cId="3309345998" sldId="3772"/>
            <ac:spMk id="4" creationId="{1A0035B5-BDD0-4AC5-A95F-8106AD9C507E}"/>
          </ac:spMkLst>
        </pc:spChg>
        <pc:spChg chg="add del mod">
          <ac:chgData name="Ganninger, Christian" userId="f256076c-be75-4ba0-9fbc-fcb58856680c" providerId="ADAL" clId="{B68CE9EA-A3DC-4681-81A8-EBC70DAABE6E}" dt="2024-12-02T12:48:04.846" v="794" actId="1036"/>
          <ac:spMkLst>
            <pc:docMk/>
            <pc:sldMk cId="3309345998" sldId="3772"/>
            <ac:spMk id="35" creationId="{0AE93FD2-6827-4C95-A056-207AD10D2974}"/>
          </ac:spMkLst>
        </pc:spChg>
        <pc:grpChg chg="del">
          <ac:chgData name="Ganninger, Christian" userId="f256076c-be75-4ba0-9fbc-fcb58856680c" providerId="ADAL" clId="{B68CE9EA-A3DC-4681-81A8-EBC70DAABE6E}" dt="2024-12-02T12:41:14.186" v="460" actId="478"/>
          <ac:grpSpMkLst>
            <pc:docMk/>
            <pc:sldMk cId="3309345998" sldId="3772"/>
            <ac:grpSpMk id="5" creationId="{7CEDDC02-4314-40D9-907E-AB332DBEE3B5}"/>
          </ac:grpSpMkLst>
        </pc:grpChg>
        <pc:grpChg chg="add del mod">
          <ac:chgData name="Ganninger, Christian" userId="f256076c-be75-4ba0-9fbc-fcb58856680c" providerId="ADAL" clId="{B68CE9EA-A3DC-4681-81A8-EBC70DAABE6E}" dt="2024-12-02T12:48:04.846" v="794" actId="1036"/>
          <ac:grpSpMkLst>
            <pc:docMk/>
            <pc:sldMk cId="3309345998" sldId="3772"/>
            <ac:grpSpMk id="10" creationId="{AB0F07EA-8C61-467D-A636-E59CD1BEB323}"/>
          </ac:grpSpMkLst>
        </pc:grpChg>
        <pc:grpChg chg="mod">
          <ac:chgData name="Ganninger, Christian" userId="f256076c-be75-4ba0-9fbc-fcb58856680c" providerId="ADAL" clId="{B68CE9EA-A3DC-4681-81A8-EBC70DAABE6E}" dt="2024-12-02T12:48:04.846" v="794" actId="1036"/>
          <ac:grpSpMkLst>
            <pc:docMk/>
            <pc:sldMk cId="3309345998" sldId="3772"/>
            <ac:grpSpMk id="26" creationId="{21C1E68F-7918-46DA-9DD4-0390F4DE6CDE}"/>
          </ac:grpSpMkLst>
        </pc:grpChg>
        <pc:picChg chg="add mod modCrop">
          <ac:chgData name="Ganninger, Christian" userId="f256076c-be75-4ba0-9fbc-fcb58856680c" providerId="ADAL" clId="{B68CE9EA-A3DC-4681-81A8-EBC70DAABE6E}" dt="2024-12-02T12:44:02.969" v="546" actId="1076"/>
          <ac:picMkLst>
            <pc:docMk/>
            <pc:sldMk cId="3309345998" sldId="3772"/>
            <ac:picMk id="36" creationId="{D6F6090D-0B2C-1EF0-BEE4-5598AF5D07AA}"/>
          </ac:picMkLst>
        </pc:picChg>
      </pc:sldChg>
      <pc:sldChg chg="modSp mod">
        <pc:chgData name="Ganninger, Christian" userId="f256076c-be75-4ba0-9fbc-fcb58856680c" providerId="ADAL" clId="{B68CE9EA-A3DC-4681-81A8-EBC70DAABE6E}" dt="2024-12-02T12:39:26.843" v="295" actId="6549"/>
        <pc:sldMkLst>
          <pc:docMk/>
          <pc:sldMk cId="3465201959" sldId="3773"/>
        </pc:sldMkLst>
        <pc:spChg chg="mod">
          <ac:chgData name="Ganninger, Christian" userId="f256076c-be75-4ba0-9fbc-fcb58856680c" providerId="ADAL" clId="{B68CE9EA-A3DC-4681-81A8-EBC70DAABE6E}" dt="2024-12-02T12:39:26.843" v="295" actId="6549"/>
          <ac:spMkLst>
            <pc:docMk/>
            <pc:sldMk cId="3465201959" sldId="3773"/>
            <ac:spMk id="7" creationId="{031A1F90-32D6-47E6-BE3E-7678C429BC7A}"/>
          </ac:spMkLst>
        </pc:spChg>
      </pc:sldChg>
      <pc:sldChg chg="addSp delSp modSp mod">
        <pc:chgData name="Ganninger, Christian" userId="f256076c-be75-4ba0-9fbc-fcb58856680c" providerId="ADAL" clId="{B68CE9EA-A3DC-4681-81A8-EBC70DAABE6E}" dt="2024-12-04T10:44:46.362" v="2729" actId="20577"/>
        <pc:sldMkLst>
          <pc:docMk/>
          <pc:sldMk cId="3244264148" sldId="3774"/>
        </pc:sldMkLst>
        <pc:spChg chg="mod">
          <ac:chgData name="Ganninger, Christian" userId="f256076c-be75-4ba0-9fbc-fcb58856680c" providerId="ADAL" clId="{B68CE9EA-A3DC-4681-81A8-EBC70DAABE6E}" dt="2024-12-04T10:44:46.362" v="2729" actId="20577"/>
          <ac:spMkLst>
            <pc:docMk/>
            <pc:sldMk cId="3244264148" sldId="3774"/>
            <ac:spMk id="2" creationId="{E8E4FA1C-D4D5-42EA-9C45-D8F411402354}"/>
          </ac:spMkLst>
        </pc:spChg>
        <pc:spChg chg="mod">
          <ac:chgData name="Ganninger, Christian" userId="f256076c-be75-4ba0-9fbc-fcb58856680c" providerId="ADAL" clId="{B68CE9EA-A3DC-4681-81A8-EBC70DAABE6E}" dt="2024-12-02T12:49:53.101" v="828" actId="20577"/>
          <ac:spMkLst>
            <pc:docMk/>
            <pc:sldMk cId="3244264148" sldId="3774"/>
            <ac:spMk id="4" creationId="{8F78611E-31A1-406C-87AE-D39698FBC74B}"/>
          </ac:spMkLst>
        </pc:spChg>
        <pc:spChg chg="del mod">
          <ac:chgData name="Ganninger, Christian" userId="f256076c-be75-4ba0-9fbc-fcb58856680c" providerId="ADAL" clId="{B68CE9EA-A3DC-4681-81A8-EBC70DAABE6E}" dt="2024-12-02T12:53:58.508" v="877" actId="478"/>
          <ac:spMkLst>
            <pc:docMk/>
            <pc:sldMk cId="3244264148" sldId="3774"/>
            <ac:spMk id="178" creationId="{7A16E075-0EDF-4EA5-8078-766AD0C1AB18}"/>
          </ac:spMkLst>
        </pc:spChg>
        <pc:grpChg chg="del mod">
          <ac:chgData name="Ganninger, Christian" userId="f256076c-be75-4ba0-9fbc-fcb58856680c" providerId="ADAL" clId="{B68CE9EA-A3DC-4681-81A8-EBC70DAABE6E}" dt="2024-12-02T12:53:58.508" v="877" actId="478"/>
          <ac:grpSpMkLst>
            <pc:docMk/>
            <pc:sldMk cId="3244264148" sldId="3774"/>
            <ac:grpSpMk id="98" creationId="{C7E5A085-4A4E-4A5A-9E4F-978C0A761431}"/>
          </ac:grpSpMkLst>
        </pc:grpChg>
        <pc:grpChg chg="del mod">
          <ac:chgData name="Ganninger, Christian" userId="f256076c-be75-4ba0-9fbc-fcb58856680c" providerId="ADAL" clId="{B68CE9EA-A3DC-4681-81A8-EBC70DAABE6E}" dt="2024-12-02T12:53:58.508" v="877" actId="478"/>
          <ac:grpSpMkLst>
            <pc:docMk/>
            <pc:sldMk cId="3244264148" sldId="3774"/>
            <ac:grpSpMk id="99" creationId="{5C783A7F-EFD6-4593-A791-8987F4891D6F}"/>
          </ac:grpSpMkLst>
        </pc:grpChg>
        <pc:grpChg chg="mod">
          <ac:chgData name="Ganninger, Christian" userId="f256076c-be75-4ba0-9fbc-fcb58856680c" providerId="ADAL" clId="{B68CE9EA-A3DC-4681-81A8-EBC70DAABE6E}" dt="2024-12-02T13:00:30.272" v="1197" actId="1036"/>
          <ac:grpSpMkLst>
            <pc:docMk/>
            <pc:sldMk cId="3244264148" sldId="3774"/>
            <ac:grpSpMk id="179" creationId="{99E6B7D8-2625-4F16-A87E-AA3C97E48C25}"/>
          </ac:grpSpMkLst>
        </pc:grpChg>
        <pc:picChg chg="add mod modCrop">
          <ac:chgData name="Ganninger, Christian" userId="f256076c-be75-4ba0-9fbc-fcb58856680c" providerId="ADAL" clId="{B68CE9EA-A3DC-4681-81A8-EBC70DAABE6E}" dt="2024-12-02T13:00:15.461" v="1189" actId="14100"/>
          <ac:picMkLst>
            <pc:docMk/>
            <pc:sldMk cId="3244264148" sldId="3774"/>
            <ac:picMk id="6" creationId="{78097845-E67F-B84E-47CE-111CAA967924}"/>
          </ac:picMkLst>
        </pc:picChg>
      </pc:sldChg>
      <pc:sldChg chg="modSp mod">
        <pc:chgData name="Ganninger, Christian" userId="f256076c-be75-4ba0-9fbc-fcb58856680c" providerId="ADAL" clId="{B68CE9EA-A3DC-4681-81A8-EBC70DAABE6E}" dt="2024-12-02T15:17:38.517" v="2005" actId="6549"/>
        <pc:sldMkLst>
          <pc:docMk/>
          <pc:sldMk cId="802185115" sldId="3775"/>
        </pc:sldMkLst>
        <pc:spChg chg="mod">
          <ac:chgData name="Ganninger, Christian" userId="f256076c-be75-4ba0-9fbc-fcb58856680c" providerId="ADAL" clId="{B68CE9EA-A3DC-4681-81A8-EBC70DAABE6E}" dt="2024-12-02T15:17:35.367" v="2004" actId="20577"/>
          <ac:spMkLst>
            <pc:docMk/>
            <pc:sldMk cId="802185115" sldId="3775"/>
            <ac:spMk id="5" creationId="{64B75B11-8125-4CFF-A48A-AD6115216732}"/>
          </ac:spMkLst>
        </pc:spChg>
        <pc:spChg chg="mod">
          <ac:chgData name="Ganninger, Christian" userId="f256076c-be75-4ba0-9fbc-fcb58856680c" providerId="ADAL" clId="{B68CE9EA-A3DC-4681-81A8-EBC70DAABE6E}" dt="2024-12-02T15:17:38.517" v="2005" actId="6549"/>
          <ac:spMkLst>
            <pc:docMk/>
            <pc:sldMk cId="802185115" sldId="3775"/>
            <ac:spMk id="6" creationId="{2317FD40-EB3B-44BA-83FF-DD3A106F6EF3}"/>
          </ac:spMkLst>
        </pc:spChg>
      </pc:sldChg>
      <pc:sldChg chg="del">
        <pc:chgData name="Ganninger, Christian" userId="f256076c-be75-4ba0-9fbc-fcb58856680c" providerId="ADAL" clId="{B68CE9EA-A3DC-4681-81A8-EBC70DAABE6E}" dt="2024-12-02T13:01:31.805" v="1204" actId="47"/>
        <pc:sldMkLst>
          <pc:docMk/>
          <pc:sldMk cId="2454800447" sldId="3776"/>
        </pc:sldMkLst>
      </pc:sldChg>
      <pc:sldChg chg="del">
        <pc:chgData name="Ganninger, Christian" userId="f256076c-be75-4ba0-9fbc-fcb58856680c" providerId="ADAL" clId="{B68CE9EA-A3DC-4681-81A8-EBC70DAABE6E}" dt="2024-12-02T13:01:32.670" v="1205" actId="47"/>
        <pc:sldMkLst>
          <pc:docMk/>
          <pc:sldMk cId="1243020427" sldId="3777"/>
        </pc:sldMkLst>
      </pc:sldChg>
      <pc:sldChg chg="del">
        <pc:chgData name="Ganninger, Christian" userId="f256076c-be75-4ba0-9fbc-fcb58856680c" providerId="ADAL" clId="{B68CE9EA-A3DC-4681-81A8-EBC70DAABE6E}" dt="2024-12-02T13:01:33.241" v="1206" actId="47"/>
        <pc:sldMkLst>
          <pc:docMk/>
          <pc:sldMk cId="4110100025" sldId="3778"/>
        </pc:sldMkLst>
      </pc:sldChg>
      <pc:sldChg chg="del">
        <pc:chgData name="Ganninger, Christian" userId="f256076c-be75-4ba0-9fbc-fcb58856680c" providerId="ADAL" clId="{B68CE9EA-A3DC-4681-81A8-EBC70DAABE6E}" dt="2024-12-02T13:01:33.842" v="1207" actId="47"/>
        <pc:sldMkLst>
          <pc:docMk/>
          <pc:sldMk cId="4032316845" sldId="3779"/>
        </pc:sldMkLst>
      </pc:sldChg>
      <pc:sldChg chg="delSp modSp mod">
        <pc:chgData name="Ganninger, Christian" userId="f256076c-be75-4ba0-9fbc-fcb58856680c" providerId="ADAL" clId="{B68CE9EA-A3DC-4681-81A8-EBC70DAABE6E}" dt="2024-12-04T10:45:50.647" v="2737" actId="6549"/>
        <pc:sldMkLst>
          <pc:docMk/>
          <pc:sldMk cId="2542255810" sldId="3780"/>
        </pc:sldMkLst>
        <pc:spChg chg="mod">
          <ac:chgData name="Ganninger, Christian" userId="f256076c-be75-4ba0-9fbc-fcb58856680c" providerId="ADAL" clId="{B68CE9EA-A3DC-4681-81A8-EBC70DAABE6E}" dt="2024-12-04T10:45:50.647" v="2737" actId="6549"/>
          <ac:spMkLst>
            <pc:docMk/>
            <pc:sldMk cId="2542255810" sldId="3780"/>
            <ac:spMk id="2" creationId="{E4AF7F3E-6688-4132-A52D-3B26D222E240}"/>
          </ac:spMkLst>
        </pc:spChg>
        <pc:spChg chg="del">
          <ac:chgData name="Ganninger, Christian" userId="f256076c-be75-4ba0-9fbc-fcb58856680c" providerId="ADAL" clId="{B68CE9EA-A3DC-4681-81A8-EBC70DAABE6E}" dt="2024-12-02T13:03:55.857" v="1245" actId="478"/>
          <ac:spMkLst>
            <pc:docMk/>
            <pc:sldMk cId="2542255810" sldId="3780"/>
            <ac:spMk id="3" creationId="{0E29EF2F-F87A-4970-82FD-8A54F4CDB9DD}"/>
          </ac:spMkLst>
        </pc:spChg>
        <pc:spChg chg="mod">
          <ac:chgData name="Ganninger, Christian" userId="f256076c-be75-4ba0-9fbc-fcb58856680c" providerId="ADAL" clId="{B68CE9EA-A3DC-4681-81A8-EBC70DAABE6E}" dt="2024-12-02T12:56:42.535" v="1080" actId="20577"/>
          <ac:spMkLst>
            <pc:docMk/>
            <pc:sldMk cId="2542255810" sldId="3780"/>
            <ac:spMk id="4" creationId="{3C26AE96-B2E2-4715-91C0-B3EAB4F37BD1}"/>
          </ac:spMkLst>
        </pc:spChg>
        <pc:spChg chg="mod">
          <ac:chgData name="Ganninger, Christian" userId="f256076c-be75-4ba0-9fbc-fcb58856680c" providerId="ADAL" clId="{B68CE9EA-A3DC-4681-81A8-EBC70DAABE6E}" dt="2024-12-02T13:03:49.820" v="1244" actId="20577"/>
          <ac:spMkLst>
            <pc:docMk/>
            <pc:sldMk cId="2542255810" sldId="3780"/>
            <ac:spMk id="9" creationId="{53A293AD-48A4-420F-8FBE-92EA30AA4A79}"/>
          </ac:spMkLst>
        </pc:spChg>
      </pc:sldChg>
      <pc:sldChg chg="addSp delSp modSp add mod">
        <pc:chgData name="Ganninger, Christian" userId="f256076c-be75-4ba0-9fbc-fcb58856680c" providerId="ADAL" clId="{B68CE9EA-A3DC-4681-81A8-EBC70DAABE6E}" dt="2024-12-04T10:46:33.680" v="2739" actId="20577"/>
        <pc:sldMkLst>
          <pc:docMk/>
          <pc:sldMk cId="2482609978" sldId="3781"/>
        </pc:sldMkLst>
        <pc:spChg chg="mod">
          <ac:chgData name="Ganninger, Christian" userId="f256076c-be75-4ba0-9fbc-fcb58856680c" providerId="ADAL" clId="{B68CE9EA-A3DC-4681-81A8-EBC70DAABE6E}" dt="2024-12-04T10:46:33.680" v="2739" actId="20577"/>
          <ac:spMkLst>
            <pc:docMk/>
            <pc:sldMk cId="2482609978" sldId="3781"/>
            <ac:spMk id="2" creationId="{E4AF7F3E-6688-4132-A52D-3B26D222E240}"/>
          </ac:spMkLst>
        </pc:spChg>
        <pc:spChg chg="del">
          <ac:chgData name="Ganninger, Christian" userId="f256076c-be75-4ba0-9fbc-fcb58856680c" providerId="ADAL" clId="{B68CE9EA-A3DC-4681-81A8-EBC70DAABE6E}" dt="2024-12-02T13:13:52.045" v="1728" actId="478"/>
          <ac:spMkLst>
            <pc:docMk/>
            <pc:sldMk cId="2482609978" sldId="3781"/>
            <ac:spMk id="3" creationId="{0E29EF2F-F87A-4970-82FD-8A54F4CDB9DD}"/>
          </ac:spMkLst>
        </pc:spChg>
        <pc:spChg chg="mod">
          <ac:chgData name="Ganninger, Christian" userId="f256076c-be75-4ba0-9fbc-fcb58856680c" providerId="ADAL" clId="{B68CE9EA-A3DC-4681-81A8-EBC70DAABE6E}" dt="2024-12-02T13:03:36.883" v="1240" actId="20577"/>
          <ac:spMkLst>
            <pc:docMk/>
            <pc:sldMk cId="2482609978" sldId="3781"/>
            <ac:spMk id="4" creationId="{3C26AE96-B2E2-4715-91C0-B3EAB4F37BD1}"/>
          </ac:spMkLst>
        </pc:spChg>
        <pc:spChg chg="mod">
          <ac:chgData name="Ganninger, Christian" userId="f256076c-be75-4ba0-9fbc-fcb58856680c" providerId="ADAL" clId="{B68CE9EA-A3DC-4681-81A8-EBC70DAABE6E}" dt="2024-12-02T13:11:15.585" v="1587" actId="1076"/>
          <ac:spMkLst>
            <pc:docMk/>
            <pc:sldMk cId="2482609978" sldId="3781"/>
            <ac:spMk id="9" creationId="{53A293AD-48A4-420F-8FBE-92EA30AA4A79}"/>
          </ac:spMkLst>
        </pc:spChg>
        <pc:spChg chg="mod ord">
          <ac:chgData name="Ganninger, Christian" userId="f256076c-be75-4ba0-9fbc-fcb58856680c" providerId="ADAL" clId="{B68CE9EA-A3DC-4681-81A8-EBC70DAABE6E}" dt="2024-12-02T13:07:58.462" v="1384" actId="166"/>
          <ac:spMkLst>
            <pc:docMk/>
            <pc:sldMk cId="2482609978" sldId="3781"/>
            <ac:spMk id="10" creationId="{667F68F7-7092-4259-AAAF-B191C7241549}"/>
          </ac:spMkLst>
        </pc:spChg>
        <pc:spChg chg="add mod">
          <ac:chgData name="Ganninger, Christian" userId="f256076c-be75-4ba0-9fbc-fcb58856680c" providerId="ADAL" clId="{B68CE9EA-A3DC-4681-81A8-EBC70DAABE6E}" dt="2024-12-02T13:12:07.252" v="1651" actId="1076"/>
          <ac:spMkLst>
            <pc:docMk/>
            <pc:sldMk cId="2482609978" sldId="3781"/>
            <ac:spMk id="13" creationId="{DFFF589A-04A9-6C01-1741-6E832AFEC6E8}"/>
          </ac:spMkLst>
        </pc:spChg>
        <pc:spChg chg="add mod">
          <ac:chgData name="Ganninger, Christian" userId="f256076c-be75-4ba0-9fbc-fcb58856680c" providerId="ADAL" clId="{B68CE9EA-A3DC-4681-81A8-EBC70DAABE6E}" dt="2024-12-02T13:12:15.915" v="1653" actId="1076"/>
          <ac:spMkLst>
            <pc:docMk/>
            <pc:sldMk cId="2482609978" sldId="3781"/>
            <ac:spMk id="14" creationId="{CF112F7C-4A52-503D-7BC1-D4D4CF9E5EEC}"/>
          </ac:spMkLst>
        </pc:spChg>
        <pc:picChg chg="add mod modCrop">
          <ac:chgData name="Ganninger, Christian" userId="f256076c-be75-4ba0-9fbc-fcb58856680c" providerId="ADAL" clId="{B68CE9EA-A3DC-4681-81A8-EBC70DAABE6E}" dt="2024-12-02T13:07:06.349" v="1369" actId="1035"/>
          <ac:picMkLst>
            <pc:docMk/>
            <pc:sldMk cId="2482609978" sldId="3781"/>
            <ac:picMk id="5" creationId="{3C1A73CC-8C2A-442B-8963-2AE774EC3BB2}"/>
          </ac:picMkLst>
        </pc:picChg>
        <pc:picChg chg="add mod modCrop">
          <ac:chgData name="Ganninger, Christian" userId="f256076c-be75-4ba0-9fbc-fcb58856680c" providerId="ADAL" clId="{B68CE9EA-A3DC-4681-81A8-EBC70DAABE6E}" dt="2024-12-02T13:06:47.993" v="1341" actId="1037"/>
          <ac:picMkLst>
            <pc:docMk/>
            <pc:sldMk cId="2482609978" sldId="3781"/>
            <ac:picMk id="6" creationId="{004FBA92-3247-19E7-E51E-B7F928BF29F8}"/>
          </ac:picMkLst>
        </pc:picChg>
        <pc:picChg chg="mod modCrop">
          <ac:chgData name="Ganninger, Christian" userId="f256076c-be75-4ba0-9fbc-fcb58856680c" providerId="ADAL" clId="{B68CE9EA-A3DC-4681-81A8-EBC70DAABE6E}" dt="2024-12-02T13:06:47.993" v="1341" actId="1037"/>
          <ac:picMkLst>
            <pc:docMk/>
            <pc:sldMk cId="2482609978" sldId="3781"/>
            <ac:picMk id="7" creationId="{1026CCEE-4E72-482E-8213-78E90B7236C5}"/>
          </ac:picMkLst>
        </pc:picChg>
        <pc:picChg chg="add mod">
          <ac:chgData name="Ganninger, Christian" userId="f256076c-be75-4ba0-9fbc-fcb58856680c" providerId="ADAL" clId="{B68CE9EA-A3DC-4681-81A8-EBC70DAABE6E}" dt="2024-12-02T13:10:10.027" v="1505" actId="1076"/>
          <ac:picMkLst>
            <pc:docMk/>
            <pc:sldMk cId="2482609978" sldId="3781"/>
            <ac:picMk id="8" creationId="{7B748F33-8D1D-A586-4DB4-DD9F4CDF1080}"/>
          </ac:picMkLst>
        </pc:picChg>
        <pc:picChg chg="add mod">
          <ac:chgData name="Ganninger, Christian" userId="f256076c-be75-4ba0-9fbc-fcb58856680c" providerId="ADAL" clId="{B68CE9EA-A3DC-4681-81A8-EBC70DAABE6E}" dt="2024-12-02T13:10:05.959" v="1504" actId="1076"/>
          <ac:picMkLst>
            <pc:docMk/>
            <pc:sldMk cId="2482609978" sldId="3781"/>
            <ac:picMk id="11" creationId="{B5BA0286-59DC-E417-3994-242170751EA4}"/>
          </ac:picMkLst>
        </pc:picChg>
        <pc:picChg chg="mod modCrop">
          <ac:chgData name="Ganninger, Christian" userId="f256076c-be75-4ba0-9fbc-fcb58856680c" providerId="ADAL" clId="{B68CE9EA-A3DC-4681-81A8-EBC70DAABE6E}" dt="2024-12-02T13:07:06.349" v="1369" actId="1035"/>
          <ac:picMkLst>
            <pc:docMk/>
            <pc:sldMk cId="2482609978" sldId="3781"/>
            <ac:picMk id="12" creationId="{21C6810E-B666-4CAD-85C6-F34735061994}"/>
          </ac:picMkLst>
        </pc:picChg>
      </pc:sldChg>
      <pc:sldChg chg="addSp delSp modSp add mod">
        <pc:chgData name="Ganninger, Christian" userId="f256076c-be75-4ba0-9fbc-fcb58856680c" providerId="ADAL" clId="{B68CE9EA-A3DC-4681-81A8-EBC70DAABE6E}" dt="2024-12-02T15:17:17.686" v="1984" actId="20577"/>
        <pc:sldMkLst>
          <pc:docMk/>
          <pc:sldMk cId="2564104371" sldId="3782"/>
        </pc:sldMkLst>
        <pc:spChg chg="mod">
          <ac:chgData name="Ganninger, Christian" userId="f256076c-be75-4ba0-9fbc-fcb58856680c" providerId="ADAL" clId="{B68CE9EA-A3DC-4681-81A8-EBC70DAABE6E}" dt="2024-12-02T15:17:17.686" v="1984" actId="20577"/>
          <ac:spMkLst>
            <pc:docMk/>
            <pc:sldMk cId="2564104371" sldId="3782"/>
            <ac:spMk id="2" creationId="{E4AF7F3E-6688-4132-A52D-3B26D222E240}"/>
          </ac:spMkLst>
        </pc:spChg>
        <pc:spChg chg="mod">
          <ac:chgData name="Ganninger, Christian" userId="f256076c-be75-4ba0-9fbc-fcb58856680c" providerId="ADAL" clId="{B68CE9EA-A3DC-4681-81A8-EBC70DAABE6E}" dt="2024-12-02T13:55:08.368" v="1730"/>
          <ac:spMkLst>
            <pc:docMk/>
            <pc:sldMk cId="2564104371" sldId="3782"/>
            <ac:spMk id="4" creationId="{3C26AE96-B2E2-4715-91C0-B3EAB4F37BD1}"/>
          </ac:spMkLst>
        </pc:spChg>
        <pc:spChg chg="mod">
          <ac:chgData name="Ganninger, Christian" userId="f256076c-be75-4ba0-9fbc-fcb58856680c" providerId="ADAL" clId="{B68CE9EA-A3DC-4681-81A8-EBC70DAABE6E}" dt="2024-12-02T13:58:37.879" v="1844" actId="1076"/>
          <ac:spMkLst>
            <pc:docMk/>
            <pc:sldMk cId="2564104371" sldId="3782"/>
            <ac:spMk id="9" creationId="{53A293AD-48A4-420F-8FBE-92EA30AA4A79}"/>
          </ac:spMkLst>
        </pc:spChg>
        <pc:spChg chg="mod">
          <ac:chgData name="Ganninger, Christian" userId="f256076c-be75-4ba0-9fbc-fcb58856680c" providerId="ADAL" clId="{B68CE9EA-A3DC-4681-81A8-EBC70DAABE6E}" dt="2024-12-02T13:58:49.687" v="1854" actId="1036"/>
          <ac:spMkLst>
            <pc:docMk/>
            <pc:sldMk cId="2564104371" sldId="3782"/>
            <ac:spMk id="10" creationId="{667F68F7-7092-4259-AAAF-B191C7241549}"/>
          </ac:spMkLst>
        </pc:spChg>
        <pc:picChg chg="add mod modCrop">
          <ac:chgData name="Ganninger, Christian" userId="f256076c-be75-4ba0-9fbc-fcb58856680c" providerId="ADAL" clId="{B68CE9EA-A3DC-4681-81A8-EBC70DAABE6E}" dt="2024-12-02T13:59:13.393" v="1859" actId="1035"/>
          <ac:picMkLst>
            <pc:docMk/>
            <pc:sldMk cId="2564104371" sldId="3782"/>
            <ac:picMk id="3" creationId="{153B9128-1A7E-A08E-167B-A6424F4ABCAA}"/>
          </ac:picMkLst>
        </pc:picChg>
        <pc:picChg chg="add del mod">
          <ac:chgData name="Ganninger, Christian" userId="f256076c-be75-4ba0-9fbc-fcb58856680c" providerId="ADAL" clId="{B68CE9EA-A3DC-4681-81A8-EBC70DAABE6E}" dt="2024-12-02T13:56:26.856" v="1744" actId="478"/>
          <ac:picMkLst>
            <pc:docMk/>
            <pc:sldMk cId="2564104371" sldId="3782"/>
            <ac:picMk id="5" creationId="{1DED33E0-437D-8A4E-2C87-EDB41B379B5F}"/>
          </ac:picMkLst>
        </pc:picChg>
        <pc:picChg chg="add mod modCrop">
          <ac:chgData name="Ganninger, Christian" userId="f256076c-be75-4ba0-9fbc-fcb58856680c" providerId="ADAL" clId="{B68CE9EA-A3DC-4681-81A8-EBC70DAABE6E}" dt="2024-12-02T13:58:33.688" v="1843" actId="1076"/>
          <ac:picMkLst>
            <pc:docMk/>
            <pc:sldMk cId="2564104371" sldId="3782"/>
            <ac:picMk id="6" creationId="{025C1BF1-B987-CAD1-E04C-F105D76C0E09}"/>
          </ac:picMkLst>
        </pc:picChg>
        <pc:picChg chg="mod modCrop">
          <ac:chgData name="Ganninger, Christian" userId="f256076c-be75-4ba0-9fbc-fcb58856680c" providerId="ADAL" clId="{B68CE9EA-A3DC-4681-81A8-EBC70DAABE6E}" dt="2024-12-02T13:58:41.904" v="1845" actId="1076"/>
          <ac:picMkLst>
            <pc:docMk/>
            <pc:sldMk cId="2564104371" sldId="3782"/>
            <ac:picMk id="7" creationId="{1026CCEE-4E72-482E-8213-78E90B7236C5}"/>
          </ac:picMkLst>
        </pc:picChg>
        <pc:picChg chg="mod modCrop">
          <ac:chgData name="Ganninger, Christian" userId="f256076c-be75-4ba0-9fbc-fcb58856680c" providerId="ADAL" clId="{B68CE9EA-A3DC-4681-81A8-EBC70DAABE6E}" dt="2024-12-02T13:58:33.688" v="1843" actId="1076"/>
          <ac:picMkLst>
            <pc:docMk/>
            <pc:sldMk cId="2564104371" sldId="3782"/>
            <ac:picMk id="12" creationId="{21C6810E-B666-4CAD-85C6-F34735061994}"/>
          </ac:picMkLst>
        </pc:picChg>
      </pc:sldChg>
      <pc:sldChg chg="addSp modSp new mod">
        <pc:chgData name="Ganninger, Christian" userId="f256076c-be75-4ba0-9fbc-fcb58856680c" providerId="ADAL" clId="{B68CE9EA-A3DC-4681-81A8-EBC70DAABE6E}" dt="2024-12-02T15:30:49.092" v="2659" actId="20577"/>
        <pc:sldMkLst>
          <pc:docMk/>
          <pc:sldMk cId="643929132" sldId="3783"/>
        </pc:sldMkLst>
        <pc:spChg chg="mod">
          <ac:chgData name="Ganninger, Christian" userId="f256076c-be75-4ba0-9fbc-fcb58856680c" providerId="ADAL" clId="{B68CE9EA-A3DC-4681-81A8-EBC70DAABE6E}" dt="2024-12-02T15:30:49.092" v="2659" actId="20577"/>
          <ac:spMkLst>
            <pc:docMk/>
            <pc:sldMk cId="643929132" sldId="3783"/>
            <ac:spMk id="2" creationId="{6BF2D169-3A91-1C88-15F7-BB36716E061B}"/>
          </ac:spMkLst>
        </pc:spChg>
        <pc:spChg chg="mod">
          <ac:chgData name="Ganninger, Christian" userId="f256076c-be75-4ba0-9fbc-fcb58856680c" providerId="ADAL" clId="{B68CE9EA-A3DC-4681-81A8-EBC70DAABE6E}" dt="2024-12-02T15:18:42.293" v="2045" actId="20577"/>
          <ac:spMkLst>
            <pc:docMk/>
            <pc:sldMk cId="643929132" sldId="3783"/>
            <ac:spMk id="4" creationId="{3B31628D-FEAA-4A1E-0C7D-0CD8BA4C5E12}"/>
          </ac:spMkLst>
        </pc:spChg>
        <pc:picChg chg="add mod modCrop">
          <ac:chgData name="Ganninger, Christian" userId="f256076c-be75-4ba0-9fbc-fcb58856680c" providerId="ADAL" clId="{B68CE9EA-A3DC-4681-81A8-EBC70DAABE6E}" dt="2024-12-02T15:21:03.102" v="2251" actId="1076"/>
          <ac:picMkLst>
            <pc:docMk/>
            <pc:sldMk cId="643929132" sldId="3783"/>
            <ac:picMk id="6" creationId="{E600DBC1-C815-3738-D578-C95F1D78326E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5357B84E-E29E-4E9F-8EC4-F0FB55F2E732}" type="datetimeFigureOut">
              <a:rPr lang="en-GB" smtClean="0"/>
              <a:t>11/12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41C9DA03-DF80-4579-B771-6341D7A4BE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01B7E555-9380-714B-AEA7-F0DFB67531BD}" type="datetimeFigureOut">
              <a:t>11.12.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1279525"/>
            <a:ext cx="6135687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35" tIns="49218" rIns="98435" bIns="492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8435" tIns="49218" rIns="98435" bIns="4921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7C0F37E3-D61C-4C4B-8AD2-D70E789ECEC8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F37E3-D61C-4C4B-8AD2-D70E789ECE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075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80761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0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svg"/><Relationship Id="rId4" Type="http://schemas.openxmlformats.org/officeDocument/2006/relationships/tags" Target="../tags/tag27.xml"/><Relationship Id="rId9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11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svg"/><Relationship Id="rId4" Type="http://schemas.openxmlformats.org/officeDocument/2006/relationships/tags" Target="../tags/tag30.xml"/><Relationship Id="rId9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2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svg"/><Relationship Id="rId4" Type="http://schemas.openxmlformats.org/officeDocument/2006/relationships/tags" Target="../tags/tag33.xml"/><Relationship Id="rId9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13.jpe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3.svg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4.jpeg"/><Relationship Id="rId4" Type="http://schemas.openxmlformats.org/officeDocument/2006/relationships/tags" Target="../tags/tag39.xml"/><Relationship Id="rId9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.xml"/><Relationship Id="rId7" Type="http://schemas.openxmlformats.org/officeDocument/2006/relationships/oleObject" Target="../embeddings/oleObject16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jpeg"/><Relationship Id="rId11" Type="http://schemas.openxmlformats.org/officeDocument/2006/relationships/image" Target="../media/image3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42.xml"/><Relationship Id="rId9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11" Type="http://schemas.openxmlformats.org/officeDocument/2006/relationships/image" Target="../media/image3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15.xml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3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18.xml"/><Relationship Id="rId9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0.xml"/><Relationship Id="rId7" Type="http://schemas.openxmlformats.org/officeDocument/2006/relationships/oleObject" Target="../embeddings/oleObject9.bin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11" Type="http://schemas.openxmlformats.org/officeDocument/2006/relationships/image" Target="../media/image3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21.xml"/><Relationship Id="rId9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3.sv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2.png"/><Relationship Id="rId4" Type="http://schemas.openxmlformats.org/officeDocument/2006/relationships/tags" Target="../tags/tag24.xml"/><Relationship Id="rId9" Type="http://schemas.openxmlformats.org/officeDocument/2006/relationships/image" Target="../media/image9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Presenter</a:t>
            </a:r>
            <a:br>
              <a:rPr lang="en-US"/>
            </a:br>
            <a:r>
              <a:rPr lang="en-US" b="0"/>
              <a:t>Month xx, 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42FDCD-F50C-453E-8FAF-0F2B656F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59332D-409D-466E-B93E-BA168CF8C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5"/>
          <a:stretch/>
        </p:blipFill>
        <p:spPr>
          <a:xfrm flipH="1">
            <a:off x="5561078" y="3176"/>
            <a:ext cx="6626323" cy="68778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#›</a:t>
            </a:fld>
            <a:endParaRPr lang="en-US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5DD4AD-64C5-4600-BEB2-CA923704EE05}"/>
              </a:ext>
            </a:extLst>
          </p:cNvPr>
          <p:cNvSpPr txBox="1"/>
          <p:nvPr userDrawn="1"/>
        </p:nvSpPr>
        <p:spPr>
          <a:xfrm>
            <a:off x="8839200" y="6436311"/>
            <a:ext cx="2209801" cy="301100"/>
          </a:xfrm>
          <a:prstGeom prst="rect">
            <a:avLst/>
          </a:prstGeom>
          <a:noFill/>
        </p:spPr>
        <p:txBody>
          <a:bodyPr wrap="square" lIns="0" rIns="0" bIns="0" rtlCol="0" anchor="b" anchorCtr="0">
            <a:noAutofit/>
          </a:bodyPr>
          <a:lstStyle/>
          <a:p>
            <a:pPr algn="r"/>
            <a:r>
              <a:rPr lang="en-US" sz="800">
                <a:solidFill>
                  <a:schemeClr val="tx1"/>
                </a:solidFill>
              </a:rPr>
              <a:t>Confidential –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0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6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microsoft.com/office/2007/relationships/hdphoto" Target="../media/hdphoto3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061EB04C-8F18-425A-8EF7-78FD4C7C8D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7760" y="381000"/>
            <a:ext cx="1564999" cy="1473200"/>
          </a:xfrm>
          <a:prstGeom prst="rect">
            <a:avLst/>
          </a:prstGeom>
        </p:spPr>
      </p:pic>
      <p:pic>
        <p:nvPicPr>
          <p:cNvPr id="18434" name="Picture 2" descr="microtca4 system 9u">
            <a:extLst>
              <a:ext uri="{FF2B5EF4-FFF2-40B4-BE49-F238E27FC236}">
                <a16:creationId xmlns:a16="http://schemas.microsoft.com/office/drawing/2014/main" id="{25FF782E-FF02-4788-917C-65ED11DD0A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47788" y="1498933"/>
            <a:ext cx="3711255" cy="3711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ubtitle 1">
            <a:extLst>
              <a:ext uri="{FF2B5EF4-FFF2-40B4-BE49-F238E27FC236}">
                <a16:creationId xmlns:a16="http://schemas.microsoft.com/office/drawing/2014/main" id="{C0F81A3C-DE91-4ACA-9021-0F97C454C8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</p:spPr>
        <p:txBody>
          <a:bodyPr/>
          <a:lstStyle/>
          <a:p>
            <a:r>
              <a:rPr lang="en-US" dirty="0"/>
              <a:t>in accordance to Revision 3.0 of MTCA.0 Standard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0608884C-3B29-465D-94E5-A06A84A4092C}"/>
              </a:ext>
            </a:extLst>
          </p:cNvPr>
          <p:cNvSpPr txBox="1">
            <a:spLocks/>
          </p:cNvSpPr>
          <p:nvPr/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New MTCA.4 </a:t>
            </a:r>
            <a:r>
              <a:rPr lang="de-DE" dirty="0" err="1"/>
              <a:t>Crate</a:t>
            </a:r>
            <a:endParaRPr lang="de-DE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B3189BD-7B36-43F7-8C7F-DEC33D54D2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8650" y="4343400"/>
            <a:ext cx="3714750" cy="685800"/>
          </a:xfrm>
        </p:spPr>
        <p:txBody>
          <a:bodyPr/>
          <a:lstStyle/>
          <a:p>
            <a:r>
              <a:rPr lang="de-DE" dirty="0"/>
              <a:t>Christian Ganninger</a:t>
            </a:r>
          </a:p>
          <a:p>
            <a:r>
              <a:rPr lang="de-DE" dirty="0"/>
              <a:t>12-2024</a:t>
            </a:r>
            <a:endParaRPr lang="en-US" dirty="0"/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3B95E1BC-7535-8B26-9010-89BA606FC194}"/>
              </a:ext>
            </a:extLst>
          </p:cNvPr>
          <p:cNvSpPr/>
          <p:nvPr/>
        </p:nvSpPr>
        <p:spPr>
          <a:xfrm rot="18408266">
            <a:off x="9114981" y="3952329"/>
            <a:ext cx="1133447" cy="455095"/>
          </a:xfrm>
          <a:prstGeom prst="rightArrow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5" name="Grafik 4" descr="Ein Bild, das Im Haus, Elektronik, Schaltung, Ofen enthält.&#10;&#10;Automatisch generierte Beschreibung">
            <a:extLst>
              <a:ext uri="{FF2B5EF4-FFF2-40B4-BE49-F238E27FC236}">
                <a16:creationId xmlns:a16="http://schemas.microsoft.com/office/drawing/2014/main" id="{29C5364C-257F-6F22-6791-51F3E56DAA3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5599" y="4629030"/>
            <a:ext cx="2692488" cy="484436"/>
          </a:xfrm>
          <a:prstGeom prst="rect">
            <a:avLst/>
          </a:prstGeom>
        </p:spPr>
      </p:pic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2BB12FF8-65E4-B56B-2452-8096688E4E3B}"/>
              </a:ext>
            </a:extLst>
          </p:cNvPr>
          <p:cNvSpPr/>
          <p:nvPr/>
        </p:nvSpPr>
        <p:spPr>
          <a:xfrm rot="1339325">
            <a:off x="8134710" y="2362145"/>
            <a:ext cx="1143222" cy="395475"/>
          </a:xfrm>
          <a:prstGeom prst="rightArrow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pic>
        <p:nvPicPr>
          <p:cNvPr id="3" name="Grafik 2" descr="Ein Bild, das Elektronik, Computerkomponenten, Text, Elektronisches Bauteil enthält.&#10;&#10;Automatisch generierte Beschreibung">
            <a:extLst>
              <a:ext uri="{FF2B5EF4-FFF2-40B4-BE49-F238E27FC236}">
                <a16:creationId xmlns:a16="http://schemas.microsoft.com/office/drawing/2014/main" id="{9DC329F9-8838-67A2-D3DF-67CE030BDD6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9630" y="1985014"/>
            <a:ext cx="1911937" cy="34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213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65E6D65-ACC5-4155-B1A4-7DA6EAE5D71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6962071" cy="4838700"/>
          </a:xfrm>
        </p:spPr>
        <p:txBody>
          <a:bodyPr/>
          <a:lstStyle/>
          <a:p>
            <a:r>
              <a:rPr lang="en-US" b="1" dirty="0"/>
              <a:t>MTCA.0 Rev3: </a:t>
            </a:r>
            <a:r>
              <a:rPr lang="en-US" dirty="0"/>
              <a:t>Cooling Unit Power Channel enhancement: 80 W -&gt; 110 W</a:t>
            </a:r>
          </a:p>
          <a:p>
            <a:pPr lvl="1"/>
            <a:r>
              <a:rPr lang="en-US" dirty="0"/>
              <a:t>Already using the strongest 120 mm, 12 V DC fans available in the front</a:t>
            </a:r>
          </a:p>
          <a:p>
            <a:pPr lvl="1"/>
            <a:r>
              <a:rPr lang="en-US" dirty="0"/>
              <a:t>Rear fans are upgraded to improve air flow in the RTM section</a:t>
            </a:r>
          </a:p>
          <a:p>
            <a:pPr lvl="1"/>
            <a:r>
              <a:rPr lang="en-US" dirty="0"/>
              <a:t>No cooling improvement of front card cage possible with current System architecture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A444089-63A4-4E83-BBD5-F781F9BE72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12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ts val="2375"/>
              </a:lnSpc>
            </a:pPr>
            <a:r>
              <a:rPr lang="en-US" sz="2600" dirty="0"/>
              <a:t>Current nVent SCHROFF Cooling Uni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E9C40F-E868-43AF-8C89-F413BA356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4590" y="2960282"/>
            <a:ext cx="4112610" cy="2099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839ED7-F13B-43E1-AEF6-FD8ABD56B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4792" y="885026"/>
            <a:ext cx="4212773" cy="207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 descr="Ein Bild, das Elektronik enthält.&#10;&#10;Automatisch generierte Beschreibung">
            <a:extLst>
              <a:ext uri="{FF2B5EF4-FFF2-40B4-BE49-F238E27FC236}">
                <a16:creationId xmlns:a16="http://schemas.microsoft.com/office/drawing/2014/main" id="{4788B8F0-E77B-4B09-8172-D942107458A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6584" y="4215384"/>
            <a:ext cx="4111701" cy="1981065"/>
          </a:xfrm>
          <a:prstGeom prst="rect">
            <a:avLst/>
          </a:prstGeom>
        </p:spPr>
      </p:pic>
      <p:pic>
        <p:nvPicPr>
          <p:cNvPr id="4" name="Grafik 3" descr="Ein Bild, das Elektronik, Elektronisches Bauteil, Computerkomponenten, Elektrisches Bauelement enthält.&#10;&#10;Automatisch generierte Beschreibung">
            <a:extLst>
              <a:ext uri="{FF2B5EF4-FFF2-40B4-BE49-F238E27FC236}">
                <a16:creationId xmlns:a16="http://schemas.microsoft.com/office/drawing/2014/main" id="{C6728BA1-9975-D66D-587D-AE93EE2BFB8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8285" y="5359908"/>
            <a:ext cx="4838915" cy="78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1695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BF2D169-3A91-1C88-15F7-BB36716E061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032745" cy="4838700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current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H8S </a:t>
            </a:r>
            <a:r>
              <a:rPr lang="de-DE" dirty="0" err="1"/>
              <a:t>controller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Renesa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e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OL, LTB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beginn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2025</a:t>
            </a:r>
          </a:p>
          <a:p>
            <a:r>
              <a:rPr lang="de-DE" dirty="0"/>
              <a:t>The Cooling Unit Manag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been</a:t>
            </a:r>
            <a:r>
              <a:rPr lang="de-DE" dirty="0"/>
              <a:t> </a:t>
            </a:r>
            <a:r>
              <a:rPr lang="de-DE" dirty="0" err="1"/>
              <a:t>redesigned</a:t>
            </a:r>
            <a:r>
              <a:rPr lang="de-DE" dirty="0"/>
              <a:t>,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TMicro</a:t>
            </a:r>
            <a:r>
              <a:rPr lang="de-DE" dirty="0"/>
              <a:t> STM 32 </a:t>
            </a:r>
            <a:r>
              <a:rPr lang="de-DE" dirty="0" err="1"/>
              <a:t>controller</a:t>
            </a:r>
            <a:r>
              <a:rPr lang="de-DE" dirty="0"/>
              <a:t> </a:t>
            </a:r>
          </a:p>
          <a:p>
            <a:r>
              <a:rPr lang="de-DE" dirty="0"/>
              <a:t>The </a:t>
            </a:r>
            <a:r>
              <a:rPr lang="de-DE" dirty="0" err="1"/>
              <a:t>hot</a:t>
            </a:r>
            <a:r>
              <a:rPr lang="de-DE" dirty="0"/>
              <a:t> </a:t>
            </a:r>
            <a:r>
              <a:rPr lang="de-DE" dirty="0" err="1"/>
              <a:t>swap</a:t>
            </a:r>
            <a:r>
              <a:rPr lang="de-DE" dirty="0"/>
              <a:t> </a:t>
            </a:r>
            <a:r>
              <a:rPr lang="de-DE" dirty="0" err="1"/>
              <a:t>controller</a:t>
            </a:r>
            <a:r>
              <a:rPr lang="de-DE" dirty="0"/>
              <a:t> </a:t>
            </a:r>
            <a:r>
              <a:rPr lang="de-DE" dirty="0" err="1"/>
              <a:t>went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dapter</a:t>
            </a:r>
            <a:r>
              <a:rPr lang="de-DE" dirty="0"/>
              <a:t> </a:t>
            </a:r>
            <a:r>
              <a:rPr lang="de-DE" dirty="0" err="1"/>
              <a:t>boar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ntroller</a:t>
            </a:r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cooling</a:t>
            </a:r>
            <a:r>
              <a:rPr lang="de-DE" dirty="0"/>
              <a:t> </a:t>
            </a:r>
            <a:r>
              <a:rPr lang="de-DE" dirty="0" err="1"/>
              <a:t>unit</a:t>
            </a:r>
            <a:r>
              <a:rPr lang="de-DE" dirty="0"/>
              <a:t> will </a:t>
            </a:r>
            <a:r>
              <a:rPr lang="de-DE" dirty="0" err="1"/>
              <a:t>run</a:t>
            </a:r>
            <a:r>
              <a:rPr lang="de-DE" dirty="0"/>
              <a:t> (@80 W) in </a:t>
            </a:r>
            <a:r>
              <a:rPr lang="de-DE" dirty="0" err="1"/>
              <a:t>old</a:t>
            </a:r>
            <a:r>
              <a:rPr lang="de-DE" dirty="0"/>
              <a:t> </a:t>
            </a:r>
            <a:r>
              <a:rPr lang="de-DE" dirty="0" err="1"/>
              <a:t>chassis</a:t>
            </a:r>
            <a:r>
              <a:rPr lang="de-DE" dirty="0"/>
              <a:t> (same </a:t>
            </a:r>
            <a:r>
              <a:rPr lang="de-DE" dirty="0" err="1"/>
              <a:t>connecto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plane)</a:t>
            </a:r>
          </a:p>
          <a:p>
            <a:r>
              <a:rPr lang="de-DE" dirty="0"/>
              <a:t>The </a:t>
            </a:r>
            <a:r>
              <a:rPr lang="de-DE" dirty="0" err="1"/>
              <a:t>former</a:t>
            </a:r>
            <a:r>
              <a:rPr lang="de-DE" dirty="0"/>
              <a:t> JSM </a:t>
            </a:r>
            <a:r>
              <a:rPr lang="de-DE" dirty="0" err="1"/>
              <a:t>signal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additional power</a:t>
            </a:r>
          </a:p>
          <a:p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implement</a:t>
            </a:r>
            <a:r>
              <a:rPr lang="de-DE" dirty="0"/>
              <a:t> a </a:t>
            </a:r>
            <a:r>
              <a:rPr lang="de-DE" dirty="0" err="1"/>
              <a:t>mechanical</a:t>
            </a:r>
            <a:r>
              <a:rPr lang="de-DE" dirty="0"/>
              <a:t> </a:t>
            </a:r>
            <a:r>
              <a:rPr lang="de-DE" dirty="0" err="1"/>
              <a:t>coding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old</a:t>
            </a:r>
            <a:r>
              <a:rPr lang="de-DE" dirty="0"/>
              <a:t> </a:t>
            </a:r>
            <a:r>
              <a:rPr lang="de-DE" dirty="0" err="1"/>
              <a:t>cooling</a:t>
            </a:r>
            <a:r>
              <a:rPr lang="de-DE" dirty="0"/>
              <a:t> </a:t>
            </a:r>
            <a:r>
              <a:rPr lang="de-DE" dirty="0" err="1"/>
              <a:t>units</a:t>
            </a:r>
            <a:r>
              <a:rPr lang="de-DE" dirty="0"/>
              <a:t> </a:t>
            </a:r>
            <a:r>
              <a:rPr lang="de-DE" dirty="0" err="1"/>
              <a:t>cannot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installed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chassis</a:t>
            </a:r>
            <a:r>
              <a:rPr lang="de-DE" dirty="0"/>
              <a:t> (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</a:t>
            </a: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cuts</a:t>
            </a:r>
            <a:r>
              <a:rPr lang="de-DE" dirty="0"/>
              <a:t> on JSM </a:t>
            </a:r>
            <a:r>
              <a:rPr lang="de-DE" dirty="0" err="1"/>
              <a:t>lines</a:t>
            </a:r>
            <a:r>
              <a:rPr lang="de-DE" dirty="0"/>
              <a:t>) 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0EAD8AA-5E25-577A-22FE-AA9AC2C96D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B31628D-FEAA-4A1E-0C7D-0CD8BA4C5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Cooling Unit Manager </a:t>
            </a:r>
            <a:endParaRPr lang="en-US" dirty="0"/>
          </a:p>
        </p:txBody>
      </p:sp>
      <p:pic>
        <p:nvPicPr>
          <p:cNvPr id="6" name="Grafik 5" descr="Ein Bild, das Elektronik, Computerkomponenten, Text, Elektronisches Bauteil enthält.&#10;&#10;Automatisch generierte Beschreibung">
            <a:extLst>
              <a:ext uri="{FF2B5EF4-FFF2-40B4-BE49-F238E27FC236}">
                <a16:creationId xmlns:a16="http://schemas.microsoft.com/office/drawing/2014/main" id="{E600DBC1-C815-3738-D578-C95F1D78326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784" y="4136763"/>
            <a:ext cx="10881360" cy="2048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929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BB1792E3-2EB0-43CA-A3A3-B8F35D0CF7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362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DA1222D-E574-4041-8F6F-76D9DCF3E32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3718" y="996433"/>
            <a:ext cx="11538611" cy="480029"/>
          </a:xfrm>
          <a:solidFill>
            <a:schemeClr val="tx1">
              <a:lumMod val="60000"/>
              <a:lumOff val="40000"/>
            </a:schemeClr>
          </a:solidFill>
        </p:spPr>
        <p:txBody>
          <a:bodyPr lIns="180000" tIns="72000" rIns="180000" bIns="72000"/>
          <a:lstStyle/>
          <a:p>
            <a:pPr marL="0" indent="0">
              <a:buNone/>
            </a:pPr>
            <a:r>
              <a:rPr lang="en-US" sz="2000" b="1" dirty="0">
                <a:solidFill>
                  <a:srgbClr val="FFFFFF"/>
                </a:solidFill>
              </a:rPr>
              <a:t>The PICMG released MTCA.0 Rev 3.0 in September 2023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4428D0-A12D-410E-904D-394398EA0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xt Generation </a:t>
            </a:r>
            <a:r>
              <a:rPr lang="de-DE" dirty="0" err="1"/>
              <a:t>MicroTCA</a:t>
            </a:r>
            <a:r>
              <a:rPr lang="de-DE" dirty="0"/>
              <a:t> </a:t>
            </a:r>
          </a:p>
        </p:txBody>
      </p:sp>
      <p:sp>
        <p:nvSpPr>
          <p:cNvPr id="67" name="Rectangle 3">
            <a:extLst>
              <a:ext uri="{FF2B5EF4-FFF2-40B4-BE49-F238E27FC236}">
                <a16:creationId xmlns:a16="http://schemas.microsoft.com/office/drawing/2014/main" id="{A5560229-1694-4804-A842-786D5C4AEC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-7768719" y="-893416"/>
            <a:ext cx="6858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A80C493-F2F7-438E-8575-B52466CD2423}"/>
              </a:ext>
            </a:extLst>
          </p:cNvPr>
          <p:cNvSpPr txBox="1"/>
          <p:nvPr/>
        </p:nvSpPr>
        <p:spPr>
          <a:xfrm>
            <a:off x="313718" y="1741516"/>
            <a:ext cx="7867985" cy="27699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NEW FEATURES</a:t>
            </a:r>
          </a:p>
          <a:p>
            <a:pPr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</a:pPr>
            <a:endParaRPr lang="en-US" b="1" dirty="0">
              <a:solidFill>
                <a:schemeClr val="tx1"/>
              </a:solidFill>
              <a:latin typeface="Arial" panose="020B0604020202020204" pitchFamily="34" charset="0"/>
              <a:ea typeface="Roboto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Supports PCI Express Gen 4 &amp; 5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Supports 100 Gb Ethernet (100GBASE-KR4)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MCH with new management features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MCH slot gets 110 W of power to support 100 GbE or PCIe Gen 4 / 5 switches</a:t>
            </a:r>
          </a:p>
          <a:p>
            <a:pPr marL="342900" indent="-342900">
              <a:spcBef>
                <a:spcPts val="600"/>
              </a:spcBef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Power Module with 110 W channels for MCH and CU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ABED557-6126-403F-9DB8-79EB29F27F23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5360" y="1606756"/>
            <a:ext cx="3188340" cy="2160572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368E0DE-CA1D-1C5D-615F-7080EE2906F8}"/>
              </a:ext>
            </a:extLst>
          </p:cNvPr>
          <p:cNvGrpSpPr/>
          <p:nvPr/>
        </p:nvGrpSpPr>
        <p:grpSpPr>
          <a:xfrm>
            <a:off x="6601968" y="4187953"/>
            <a:ext cx="5250361" cy="1862548"/>
            <a:chOff x="3352800" y="3235"/>
            <a:chExt cx="8610600" cy="3458974"/>
          </a:xfrm>
        </p:grpSpPr>
        <p:grpSp>
          <p:nvGrpSpPr>
            <p:cNvPr id="3" name="Gruppieren 2">
              <a:extLst>
                <a:ext uri="{FF2B5EF4-FFF2-40B4-BE49-F238E27FC236}">
                  <a16:creationId xmlns:a16="http://schemas.microsoft.com/office/drawing/2014/main" id="{33CCB810-323B-2E3B-20E3-44FC1C922D4F}"/>
                </a:ext>
              </a:extLst>
            </p:cNvPr>
            <p:cNvGrpSpPr/>
            <p:nvPr/>
          </p:nvGrpSpPr>
          <p:grpSpPr>
            <a:xfrm>
              <a:off x="4419600" y="3235"/>
              <a:ext cx="7543800" cy="2088771"/>
              <a:chOff x="3083562" y="3235"/>
              <a:chExt cx="7543800" cy="2088771"/>
            </a:xfrm>
          </p:grpSpPr>
          <p:grpSp>
            <p:nvGrpSpPr>
              <p:cNvPr id="7" name="Gruppieren 6">
                <a:extLst>
                  <a:ext uri="{FF2B5EF4-FFF2-40B4-BE49-F238E27FC236}">
                    <a16:creationId xmlns:a16="http://schemas.microsoft.com/office/drawing/2014/main" id="{36D130FA-E20C-AFBD-05F9-0926D9FBABB1}"/>
                  </a:ext>
                </a:extLst>
              </p:cNvPr>
              <p:cNvGrpSpPr/>
              <p:nvPr/>
            </p:nvGrpSpPr>
            <p:grpSpPr>
              <a:xfrm>
                <a:off x="3312162" y="3235"/>
                <a:ext cx="7315200" cy="2058282"/>
                <a:chOff x="3312162" y="1240006"/>
                <a:chExt cx="7315200" cy="2058282"/>
              </a:xfrm>
            </p:grpSpPr>
            <p:sp>
              <p:nvSpPr>
                <p:cNvPr id="13" name="Rechteck 12">
                  <a:extLst>
                    <a:ext uri="{FF2B5EF4-FFF2-40B4-BE49-F238E27FC236}">
                      <a16:creationId xmlns:a16="http://schemas.microsoft.com/office/drawing/2014/main" id="{E8CCD833-4A93-7254-A63B-B1F9C7602E28}"/>
                    </a:ext>
                  </a:extLst>
                </p:cNvPr>
                <p:cNvSpPr/>
                <p:nvPr/>
              </p:nvSpPr>
              <p:spPr>
                <a:xfrm>
                  <a:off x="3312162" y="1475838"/>
                  <a:ext cx="7315200" cy="18224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4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4" name="Grafik 13">
                  <a:extLst>
                    <a:ext uri="{FF2B5EF4-FFF2-40B4-BE49-F238E27FC236}">
                      <a16:creationId xmlns:a16="http://schemas.microsoft.com/office/drawing/2014/main" id="{E28D3DC3-F166-445C-9613-03037CB612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0800000" flipH="1">
                  <a:off x="4572000" y="1240006"/>
                  <a:ext cx="2781702" cy="1749364"/>
                </a:xfrm>
                <a:prstGeom prst="rect">
                  <a:avLst/>
                </a:prstGeom>
                <a:solidFill>
                  <a:srgbClr val="DDD9C3"/>
                </a:solidFill>
                <a:ln>
                  <a:noFill/>
                </a:ln>
              </p:spPr>
            </p:pic>
          </p:grpSp>
          <p:sp>
            <p:nvSpPr>
              <p:cNvPr id="9" name="Pfeil: gebogen 8">
                <a:extLst>
                  <a:ext uri="{FF2B5EF4-FFF2-40B4-BE49-F238E27FC236}">
                    <a16:creationId xmlns:a16="http://schemas.microsoft.com/office/drawing/2014/main" id="{E0556024-9F14-85DD-8F4F-D25BAF2614E0}"/>
                  </a:ext>
                </a:extLst>
              </p:cNvPr>
              <p:cNvSpPr/>
              <p:nvPr/>
            </p:nvSpPr>
            <p:spPr>
              <a:xfrm>
                <a:off x="3083562" y="907493"/>
                <a:ext cx="1945638" cy="1183116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Pfeil: gebogen 9">
                <a:extLst>
                  <a:ext uri="{FF2B5EF4-FFF2-40B4-BE49-F238E27FC236}">
                    <a16:creationId xmlns:a16="http://schemas.microsoft.com/office/drawing/2014/main" id="{B78B77DF-62E0-4FBF-9B07-9208F4AF51F7}"/>
                  </a:ext>
                </a:extLst>
              </p:cNvPr>
              <p:cNvSpPr/>
              <p:nvPr/>
            </p:nvSpPr>
            <p:spPr>
              <a:xfrm flipH="1">
                <a:off x="7086600" y="878401"/>
                <a:ext cx="2169162" cy="1213605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Pfeil: nach oben 11">
                <a:extLst>
                  <a:ext uri="{FF2B5EF4-FFF2-40B4-BE49-F238E27FC236}">
                    <a16:creationId xmlns:a16="http://schemas.microsoft.com/office/drawing/2014/main" id="{576EAD7E-26F1-1B62-6DCB-45265E734444}"/>
                  </a:ext>
                </a:extLst>
              </p:cNvPr>
              <p:cNvSpPr/>
              <p:nvPr/>
            </p:nvSpPr>
            <p:spPr>
              <a:xfrm>
                <a:off x="6019800" y="1651252"/>
                <a:ext cx="335662" cy="439357"/>
              </a:xfrm>
              <a:prstGeom prst="upArrow">
                <a:avLst/>
              </a:prstGeom>
              <a:solidFill>
                <a:srgbClr val="E5B8B7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929EBC2-7622-C4C0-9239-3542F576C0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2800" y="2145447"/>
              <a:ext cx="8275449" cy="13167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8372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31A1F90-32D6-47E6-BE3E-7678C429BC7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NEW MTCA.0 Rev 3.0 </a:t>
            </a:r>
            <a:r>
              <a:rPr lang="de-DE" dirty="0" err="1"/>
              <a:t>compliant</a:t>
            </a:r>
            <a:r>
              <a:rPr lang="de-DE" dirty="0"/>
              <a:t> backplane</a:t>
            </a:r>
            <a:endParaRPr lang="en-US" dirty="0"/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7BB6D589-46BA-49B6-87FA-3C0251FEBBD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ignal Integrity, compatibility and differences</a:t>
            </a:r>
          </a:p>
        </p:txBody>
      </p:sp>
    </p:spTree>
    <p:extLst>
      <p:ext uri="{BB962C8B-B14F-4D97-AF65-F5344CB8AC3E}">
        <p14:creationId xmlns:p14="http://schemas.microsoft.com/office/powerpoint/2010/main" val="34652019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21C1E68F-7918-46DA-9DD4-0390F4DE6CDE}"/>
              </a:ext>
            </a:extLst>
          </p:cNvPr>
          <p:cNvGrpSpPr/>
          <p:nvPr/>
        </p:nvGrpSpPr>
        <p:grpSpPr>
          <a:xfrm>
            <a:off x="6596768" y="3160703"/>
            <a:ext cx="5290432" cy="1811516"/>
            <a:chOff x="3352800" y="3235"/>
            <a:chExt cx="8610600" cy="3458974"/>
          </a:xfrm>
        </p:grpSpPr>
        <p:grpSp>
          <p:nvGrpSpPr>
            <p:cNvPr id="27" name="Gruppieren 26">
              <a:extLst>
                <a:ext uri="{FF2B5EF4-FFF2-40B4-BE49-F238E27FC236}">
                  <a16:creationId xmlns:a16="http://schemas.microsoft.com/office/drawing/2014/main" id="{23043B34-F6FE-4677-9772-9A2ADB750FD2}"/>
                </a:ext>
              </a:extLst>
            </p:cNvPr>
            <p:cNvGrpSpPr/>
            <p:nvPr/>
          </p:nvGrpSpPr>
          <p:grpSpPr>
            <a:xfrm>
              <a:off x="4419600" y="3235"/>
              <a:ext cx="7543800" cy="2088771"/>
              <a:chOff x="3083562" y="3235"/>
              <a:chExt cx="7543800" cy="2088771"/>
            </a:xfrm>
          </p:grpSpPr>
          <p:grpSp>
            <p:nvGrpSpPr>
              <p:cNvPr id="29" name="Gruppieren 28">
                <a:extLst>
                  <a:ext uri="{FF2B5EF4-FFF2-40B4-BE49-F238E27FC236}">
                    <a16:creationId xmlns:a16="http://schemas.microsoft.com/office/drawing/2014/main" id="{F6E1293E-55D5-49B5-8FE1-A29B33409077}"/>
                  </a:ext>
                </a:extLst>
              </p:cNvPr>
              <p:cNvGrpSpPr/>
              <p:nvPr/>
            </p:nvGrpSpPr>
            <p:grpSpPr>
              <a:xfrm>
                <a:off x="3312162" y="3235"/>
                <a:ext cx="7315200" cy="2058282"/>
                <a:chOff x="3312162" y="1240006"/>
                <a:chExt cx="7315200" cy="2058282"/>
              </a:xfrm>
            </p:grpSpPr>
            <p:sp>
              <p:nvSpPr>
                <p:cNvPr id="33" name="Rechteck 32">
                  <a:extLst>
                    <a:ext uri="{FF2B5EF4-FFF2-40B4-BE49-F238E27FC236}">
                      <a16:creationId xmlns:a16="http://schemas.microsoft.com/office/drawing/2014/main" id="{93C3E226-8348-4120-BC83-14F44BFD60CE}"/>
                    </a:ext>
                  </a:extLst>
                </p:cNvPr>
                <p:cNvSpPr/>
                <p:nvPr/>
              </p:nvSpPr>
              <p:spPr>
                <a:xfrm>
                  <a:off x="3312162" y="1475838"/>
                  <a:ext cx="7315200" cy="18224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400" dirty="0" err="1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34" name="Grafik 33">
                  <a:extLst>
                    <a:ext uri="{FF2B5EF4-FFF2-40B4-BE49-F238E27FC236}">
                      <a16:creationId xmlns:a16="http://schemas.microsoft.com/office/drawing/2014/main" id="{F341EF4A-3E85-48A5-AB69-2D4B0876CF2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rot="10800000" flipH="1">
                  <a:off x="4572000" y="1240006"/>
                  <a:ext cx="2781702" cy="1749364"/>
                </a:xfrm>
                <a:prstGeom prst="rect">
                  <a:avLst/>
                </a:prstGeom>
                <a:solidFill>
                  <a:srgbClr val="DDD9C3"/>
                </a:solidFill>
                <a:ln>
                  <a:noFill/>
                </a:ln>
              </p:spPr>
            </p:pic>
          </p:grpSp>
          <p:sp>
            <p:nvSpPr>
              <p:cNvPr id="30" name="Pfeil: gebogen 29">
                <a:extLst>
                  <a:ext uri="{FF2B5EF4-FFF2-40B4-BE49-F238E27FC236}">
                    <a16:creationId xmlns:a16="http://schemas.microsoft.com/office/drawing/2014/main" id="{63AF02E1-757D-4EC9-BA93-36BB4CF0F7EB}"/>
                  </a:ext>
                </a:extLst>
              </p:cNvPr>
              <p:cNvSpPr/>
              <p:nvPr/>
            </p:nvSpPr>
            <p:spPr>
              <a:xfrm>
                <a:off x="3083562" y="907493"/>
                <a:ext cx="1945638" cy="1183116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Pfeil: gebogen 30">
                <a:extLst>
                  <a:ext uri="{FF2B5EF4-FFF2-40B4-BE49-F238E27FC236}">
                    <a16:creationId xmlns:a16="http://schemas.microsoft.com/office/drawing/2014/main" id="{5E3A290F-F093-4B33-AF00-A801FEFC48BD}"/>
                  </a:ext>
                </a:extLst>
              </p:cNvPr>
              <p:cNvSpPr/>
              <p:nvPr/>
            </p:nvSpPr>
            <p:spPr>
              <a:xfrm flipH="1">
                <a:off x="7086600" y="878401"/>
                <a:ext cx="2169162" cy="1213605"/>
              </a:xfrm>
              <a:prstGeom prst="bentArrow">
                <a:avLst>
                  <a:gd name="adj1" fmla="val 14178"/>
                  <a:gd name="adj2" fmla="val 17042"/>
                  <a:gd name="adj3" fmla="val 20544"/>
                  <a:gd name="adj4" fmla="val 43750"/>
                </a:avLst>
              </a:prstGeom>
              <a:solidFill>
                <a:srgbClr val="DDD9C3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Pfeil: nach oben 31">
                <a:extLst>
                  <a:ext uri="{FF2B5EF4-FFF2-40B4-BE49-F238E27FC236}">
                    <a16:creationId xmlns:a16="http://schemas.microsoft.com/office/drawing/2014/main" id="{BAF6E11B-6110-4DC6-BC2B-AE071E482DC7}"/>
                  </a:ext>
                </a:extLst>
              </p:cNvPr>
              <p:cNvSpPr/>
              <p:nvPr/>
            </p:nvSpPr>
            <p:spPr>
              <a:xfrm>
                <a:off x="6019800" y="1651252"/>
                <a:ext cx="335662" cy="439357"/>
              </a:xfrm>
              <a:prstGeom prst="upArrow">
                <a:avLst/>
              </a:prstGeom>
              <a:solidFill>
                <a:srgbClr val="E5B8B7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28" name="Grafik 27">
              <a:extLst>
                <a:ext uri="{FF2B5EF4-FFF2-40B4-BE49-F238E27FC236}">
                  <a16:creationId xmlns:a16="http://schemas.microsoft.com/office/drawing/2014/main" id="{95EBE438-BE3C-4DFC-956B-53252FB7CF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2800" y="2145447"/>
              <a:ext cx="8275449" cy="1316762"/>
            </a:xfrm>
            <a:prstGeom prst="rect">
              <a:avLst/>
            </a:prstGeom>
          </p:spPr>
        </p:pic>
      </p:grp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2964DFC-EB59-470B-BB6A-957202FC3DD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0" y="1104900"/>
            <a:ext cx="8421642" cy="5111342"/>
          </a:xfrm>
        </p:spPr>
        <p:txBody>
          <a:bodyPr/>
          <a:lstStyle/>
          <a:p>
            <a:r>
              <a:rPr lang="en-US" dirty="0"/>
              <a:t>Connectors changed from Press Fit to Surface Mount to minimize the losses in the through holes</a:t>
            </a:r>
          </a:p>
          <a:p>
            <a:r>
              <a:rPr lang="en-US" dirty="0"/>
              <a:t>Connectors are downward compatible</a:t>
            </a:r>
          </a:p>
          <a:p>
            <a:r>
              <a:rPr lang="en-US" dirty="0"/>
              <a:t>Low loss material </a:t>
            </a:r>
            <a:r>
              <a:rPr lang="en-US"/>
              <a:t>and new routing </a:t>
            </a:r>
            <a:r>
              <a:rPr lang="en-US" dirty="0"/>
              <a:t>strategy for </a:t>
            </a:r>
            <a:r>
              <a:rPr lang="en-US" dirty="0" err="1"/>
              <a:t>pcb</a:t>
            </a:r>
            <a:r>
              <a:rPr lang="en-US" dirty="0"/>
              <a:t> to improve the signal integrity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dirty="0"/>
              <a:t>Data transmission channel from PCI-SIG and IEEE divided into sections, with limits defined for MCH, AMC and Backplane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sz="2800" dirty="0"/>
          </a:p>
          <a:p>
            <a:endParaRPr lang="en-US" dirty="0"/>
          </a:p>
          <a:p>
            <a:r>
              <a:rPr lang="en-US" dirty="0"/>
              <a:t>The backplane in the NEW nVent SCHROFF MTCA.4 crate meets the requirements of the MTCA.0 Rev. 3.0 Standard for PCIe Gen 4 &amp; (5) and 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rPr>
              <a:t>100GBASE-KR4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92A5358-1311-4B13-83E4-D1EA7407B3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A0035B5-BDD0-4AC5-A95F-8106AD9C5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Backplane Design</a:t>
            </a:r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B0F07EA-8C61-467D-A636-E59CD1BEB323}"/>
              </a:ext>
            </a:extLst>
          </p:cNvPr>
          <p:cNvGrpSpPr/>
          <p:nvPr/>
        </p:nvGrpSpPr>
        <p:grpSpPr>
          <a:xfrm>
            <a:off x="677404" y="3996988"/>
            <a:ext cx="4816584" cy="1023371"/>
            <a:chOff x="1475656" y="1448348"/>
            <a:chExt cx="5370588" cy="1120693"/>
          </a:xfrm>
        </p:grpSpPr>
        <p:sp>
          <p:nvSpPr>
            <p:cNvPr id="11" name="Geschweifte Klammer rechts 10">
              <a:extLst>
                <a:ext uri="{FF2B5EF4-FFF2-40B4-BE49-F238E27FC236}">
                  <a16:creationId xmlns:a16="http://schemas.microsoft.com/office/drawing/2014/main" id="{FD38A899-3053-4CAD-8873-B4BBE79AA46C}"/>
                </a:ext>
              </a:extLst>
            </p:cNvPr>
            <p:cNvSpPr/>
            <p:nvPr/>
          </p:nvSpPr>
          <p:spPr>
            <a:xfrm rot="5400000">
              <a:off x="4019579" y="1202446"/>
              <a:ext cx="212176" cy="1870066"/>
            </a:xfrm>
            <a:prstGeom prst="rightBrace">
              <a:avLst>
                <a:gd name="adj1" fmla="val 81459"/>
                <a:gd name="adj2" fmla="val 50376"/>
              </a:avLst>
            </a:prstGeom>
            <a:ln w="19050">
              <a:solidFill>
                <a:schemeClr val="bg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>
                <a:solidFill>
                  <a:schemeClr val="bg2"/>
                </a:solidFill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3824C06B-440A-4BBB-B6FD-23B5E242E599}"/>
                </a:ext>
              </a:extLst>
            </p:cNvPr>
            <p:cNvGrpSpPr/>
            <p:nvPr/>
          </p:nvGrpSpPr>
          <p:grpSpPr>
            <a:xfrm>
              <a:off x="1475656" y="1524428"/>
              <a:ext cx="5370588" cy="527861"/>
              <a:chOff x="1475656" y="1445829"/>
              <a:chExt cx="5370588" cy="527861"/>
            </a:xfrm>
          </p:grpSpPr>
          <p:grpSp>
            <p:nvGrpSpPr>
              <p:cNvPr id="20" name="Gruppieren 19">
                <a:extLst>
                  <a:ext uri="{FF2B5EF4-FFF2-40B4-BE49-F238E27FC236}">
                    <a16:creationId xmlns:a16="http://schemas.microsoft.com/office/drawing/2014/main" id="{6F555AC8-39F5-41CA-B3A7-95053507BC69}"/>
                  </a:ext>
                </a:extLst>
              </p:cNvPr>
              <p:cNvGrpSpPr/>
              <p:nvPr/>
            </p:nvGrpSpPr>
            <p:grpSpPr>
              <a:xfrm>
                <a:off x="1475656" y="1468121"/>
                <a:ext cx="3657600" cy="505569"/>
                <a:chOff x="1475656" y="1468121"/>
                <a:chExt cx="3657600" cy="505569"/>
              </a:xfrm>
            </p:grpSpPr>
            <p:cxnSp>
              <p:nvCxnSpPr>
                <p:cNvPr id="22" name="Gerader Verbinder 21">
                  <a:extLst>
                    <a:ext uri="{FF2B5EF4-FFF2-40B4-BE49-F238E27FC236}">
                      <a16:creationId xmlns:a16="http://schemas.microsoft.com/office/drawing/2014/main" id="{722CF4A1-1624-4BA4-BAD7-3845F59BFB4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055032" y="1635922"/>
                  <a:ext cx="2078224" cy="0"/>
                </a:xfrm>
                <a:prstGeom prst="line">
                  <a:avLst/>
                </a:prstGeom>
                <a:ln>
                  <a:solidFill>
                    <a:schemeClr val="bg1"/>
                  </a:solidFill>
                  <a:headEnd type="none" w="med" len="med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Gerader Verbinder 22">
                  <a:extLst>
                    <a:ext uri="{FF2B5EF4-FFF2-40B4-BE49-F238E27FC236}">
                      <a16:creationId xmlns:a16="http://schemas.microsoft.com/office/drawing/2014/main" id="{963D44DD-1905-47ED-A1D1-51504DCEE63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3055032" y="1779938"/>
                  <a:ext cx="2078224" cy="2"/>
                </a:xfrm>
                <a:prstGeom prst="line">
                  <a:avLst/>
                </a:prstGeom>
                <a:ln>
                  <a:solidFill>
                    <a:schemeClr val="bg1"/>
                  </a:solidFill>
                  <a:headEnd type="none" w="med" len="med"/>
                  <a:tailEnd type="triangle" w="lg" len="lg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4" name="Textplatzhalter 4">
                  <a:extLst>
                    <a:ext uri="{FF2B5EF4-FFF2-40B4-BE49-F238E27FC236}">
                      <a16:creationId xmlns:a16="http://schemas.microsoft.com/office/drawing/2014/main" id="{9E1F661E-D2A3-40D9-BEB4-CFA8AF01A94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1475656" y="1468121"/>
                  <a:ext cx="663767" cy="50556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None/>
                  </a:pPr>
                  <a:r>
                    <a:rPr lang="en-US" sz="1200" b="0" dirty="0"/>
                    <a:t>Rx/Tx</a:t>
                  </a:r>
                  <a:br>
                    <a:rPr lang="en-US" sz="1200" b="0" dirty="0"/>
                  </a:br>
                  <a:r>
                    <a:rPr lang="en-US" sz="1200" b="0" dirty="0"/>
                    <a:t>Chip</a:t>
                  </a:r>
                </a:p>
              </p:txBody>
            </p:sp>
          </p:grpSp>
          <p:sp>
            <p:nvSpPr>
              <p:cNvPr id="21" name="Textplatzhalter 4">
                <a:extLst>
                  <a:ext uri="{FF2B5EF4-FFF2-40B4-BE49-F238E27FC236}">
                    <a16:creationId xmlns:a16="http://schemas.microsoft.com/office/drawing/2014/main" id="{ECE088F7-7CCF-466D-874E-67BEE5C81C0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2761" y="1445829"/>
                <a:ext cx="753483" cy="5055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200" b="0" dirty="0"/>
                  <a:t>Tx/Rx </a:t>
                </a:r>
                <a:br>
                  <a:rPr lang="en-US" sz="1200" b="0" dirty="0"/>
                </a:br>
                <a:r>
                  <a:rPr lang="en-US" sz="1200" b="0" dirty="0"/>
                  <a:t>Chip</a:t>
                </a:r>
              </a:p>
            </p:txBody>
          </p:sp>
        </p:grpSp>
        <p:sp>
          <p:nvSpPr>
            <p:cNvPr id="13" name="Textplatzhalter 4">
              <a:extLst>
                <a:ext uri="{FF2B5EF4-FFF2-40B4-BE49-F238E27FC236}">
                  <a16:creationId xmlns:a16="http://schemas.microsoft.com/office/drawing/2014/main" id="{821B96CF-9941-47BA-8C20-984DC59B8A4E}"/>
                </a:ext>
              </a:extLst>
            </p:cNvPr>
            <p:cNvSpPr txBox="1">
              <a:spLocks/>
            </p:cNvSpPr>
            <p:nvPr/>
          </p:nvSpPr>
          <p:spPr>
            <a:xfrm>
              <a:off x="3206004" y="2265700"/>
              <a:ext cx="1927252" cy="30334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200" dirty="0">
                  <a:solidFill>
                    <a:schemeClr val="bg2"/>
                  </a:solidFill>
                </a:rPr>
                <a:t>transmission channel </a:t>
              </a:r>
            </a:p>
          </p:txBody>
        </p: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44A62B4-BED7-4375-9C2E-466782BAF7B2}"/>
                </a:ext>
              </a:extLst>
            </p:cNvPr>
            <p:cNvGrpSpPr/>
            <p:nvPr/>
          </p:nvGrpSpPr>
          <p:grpSpPr>
            <a:xfrm>
              <a:off x="2100327" y="1456520"/>
              <a:ext cx="970191" cy="640860"/>
              <a:chOff x="2100327" y="1456520"/>
              <a:chExt cx="970191" cy="640860"/>
            </a:xfrm>
          </p:grpSpPr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4ABE2832-C8AD-40E1-9981-02390D2A6E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107102" y="1496396"/>
                <a:ext cx="963416" cy="539513"/>
              </a:xfrm>
              <a:prstGeom prst="rect">
                <a:avLst/>
              </a:prstGeom>
            </p:spPr>
          </p:pic>
          <p:sp>
            <p:nvSpPr>
              <p:cNvPr id="19" name="Rechteck 18">
                <a:extLst>
                  <a:ext uri="{FF2B5EF4-FFF2-40B4-BE49-F238E27FC236}">
                    <a16:creationId xmlns:a16="http://schemas.microsoft.com/office/drawing/2014/main" id="{C92F8B46-1C52-4FCC-A691-E163E6CA6215}"/>
                  </a:ext>
                </a:extLst>
              </p:cNvPr>
              <p:cNvSpPr/>
              <p:nvPr/>
            </p:nvSpPr>
            <p:spPr>
              <a:xfrm>
                <a:off x="2100327" y="1456520"/>
                <a:ext cx="959505" cy="640860"/>
              </a:xfrm>
              <a:prstGeom prst="rect">
                <a:avLst/>
              </a:prstGeom>
              <a:no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1400" b="1" dirty="0" err="1">
                  <a:solidFill>
                    <a:srgbClr val="EEEEEE"/>
                  </a:solidFill>
                  <a:latin typeface="Roboto" panose="02000000000000000000"/>
                </a:endParaRP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154BBF64-84B2-4A04-9E68-14F08E95404D}"/>
                </a:ext>
              </a:extLst>
            </p:cNvPr>
            <p:cNvGrpSpPr/>
            <p:nvPr/>
          </p:nvGrpSpPr>
          <p:grpSpPr>
            <a:xfrm>
              <a:off x="5140031" y="1448348"/>
              <a:ext cx="972049" cy="640860"/>
              <a:chOff x="638200" y="1607054"/>
              <a:chExt cx="972049" cy="640860"/>
            </a:xfrm>
          </p:grpSpPr>
          <p:pic>
            <p:nvPicPr>
              <p:cNvPr id="16" name="Grafik 15">
                <a:extLst>
                  <a:ext uri="{FF2B5EF4-FFF2-40B4-BE49-F238E27FC236}">
                    <a16:creationId xmlns:a16="http://schemas.microsoft.com/office/drawing/2014/main" id="{D3E09DA5-4E35-4C06-A6FC-438331D4FF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8200" y="1683254"/>
                <a:ext cx="963416" cy="539513"/>
              </a:xfrm>
              <a:prstGeom prst="rect">
                <a:avLst/>
              </a:prstGeom>
            </p:spPr>
          </p:pic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42850545-A65C-4D1C-B9AD-9E321F92361A}"/>
                  </a:ext>
                </a:extLst>
              </p:cNvPr>
              <p:cNvSpPr/>
              <p:nvPr/>
            </p:nvSpPr>
            <p:spPr>
              <a:xfrm>
                <a:off x="650744" y="1607054"/>
                <a:ext cx="959505" cy="640860"/>
              </a:xfrm>
              <a:prstGeom prst="rect">
                <a:avLst/>
              </a:prstGeom>
              <a:noFill/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sz="1400" b="1" dirty="0" err="1">
                  <a:solidFill>
                    <a:srgbClr val="EEEEEE"/>
                  </a:solidFill>
                  <a:latin typeface="Roboto" panose="02000000000000000000"/>
                </a:endParaRPr>
              </a:p>
            </p:txBody>
          </p:sp>
        </p:grpSp>
      </p:grpSp>
      <p:sp>
        <p:nvSpPr>
          <p:cNvPr id="35" name="Pfeil: nach rechts 34">
            <a:extLst>
              <a:ext uri="{FF2B5EF4-FFF2-40B4-BE49-F238E27FC236}">
                <a16:creationId xmlns:a16="http://schemas.microsoft.com/office/drawing/2014/main" id="{0AE93FD2-6827-4C95-A056-207AD10D2974}"/>
              </a:ext>
            </a:extLst>
          </p:cNvPr>
          <p:cNvSpPr/>
          <p:nvPr/>
        </p:nvSpPr>
        <p:spPr>
          <a:xfrm>
            <a:off x="5524067" y="4174528"/>
            <a:ext cx="978408" cy="384704"/>
          </a:xfrm>
          <a:prstGeom prst="rightArrow">
            <a:avLst>
              <a:gd name="adj1" fmla="val 50000"/>
              <a:gd name="adj2" fmla="val 96876"/>
            </a:avLst>
          </a:prstGeom>
          <a:solidFill>
            <a:srgbClr val="FFFFFF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36" name="Grafik 35" descr="Ein Bild, das Text, Im Haus, Schaltung enthält.&#10;&#10;Automatisch generierte Beschreibung">
            <a:extLst>
              <a:ext uri="{FF2B5EF4-FFF2-40B4-BE49-F238E27FC236}">
                <a16:creationId xmlns:a16="http://schemas.microsoft.com/office/drawing/2014/main" id="{D6F6090D-0B2C-1EF0-BEE4-5598AF5D07A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516"/>
          <a:stretch/>
        </p:blipFill>
        <p:spPr>
          <a:xfrm rot="16200000">
            <a:off x="9720571" y="-16027"/>
            <a:ext cx="1016364" cy="320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345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8E4FA1C-D4D5-42EA-9C45-D8F41140235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031748"/>
            <a:ext cx="10401809" cy="483870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Updated Trace lengths in MTCA.0 Rev 3.0 required that </a:t>
            </a:r>
            <a:r>
              <a:rPr lang="en-US" b="1" dirty="0"/>
              <a:t>MCH’s moved to the middle</a:t>
            </a:r>
          </a:p>
          <a:p>
            <a:pPr marL="0" indent="0">
              <a:buNone/>
            </a:pPr>
            <a:endParaRPr lang="en-US" sz="700" dirty="0"/>
          </a:p>
          <a:p>
            <a:pPr marL="0" indent="0">
              <a:buNone/>
            </a:pPr>
            <a:endParaRPr lang="en-US" sz="700" dirty="0"/>
          </a:p>
          <a:p>
            <a:pPr marL="0" indent="0">
              <a:buNone/>
            </a:pPr>
            <a:endParaRPr lang="en-US" sz="700" dirty="0"/>
          </a:p>
          <a:p>
            <a:pPr marL="0" indent="0">
              <a:buNone/>
            </a:pPr>
            <a:endParaRPr lang="en-US" sz="700" dirty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1800" b="1" dirty="0"/>
              <a:t>AMC/MCH card:			Backplane:</a:t>
            </a:r>
          </a:p>
          <a:p>
            <a:pPr marL="0" indent="0">
              <a:buNone/>
            </a:pPr>
            <a:r>
              <a:rPr lang="en-US" sz="1800" dirty="0"/>
              <a:t>	min trace length:   </a:t>
            </a:r>
            <a:r>
              <a:rPr lang="en-US" sz="1800" dirty="0">
                <a:solidFill>
                  <a:srgbClr val="C00000"/>
                </a:solidFill>
              </a:rPr>
              <a:t>35mm 		</a:t>
            </a:r>
            <a:r>
              <a:rPr lang="en-US" sz="1800" dirty="0"/>
              <a:t>min trace length:  </a:t>
            </a:r>
            <a:r>
              <a:rPr lang="en-US" sz="1800" dirty="0">
                <a:solidFill>
                  <a:srgbClr val="C00000"/>
                </a:solidFill>
              </a:rPr>
              <a:t>60mm (100mm for HUB channels)</a:t>
            </a:r>
            <a:br>
              <a:rPr lang="en-US" sz="1800" dirty="0">
                <a:solidFill>
                  <a:srgbClr val="C00000"/>
                </a:solidFill>
              </a:rPr>
            </a:br>
            <a:r>
              <a:rPr lang="en-US" sz="1800" dirty="0">
                <a:solidFill>
                  <a:srgbClr val="C00000"/>
                </a:solidFill>
              </a:rPr>
              <a:t>	</a:t>
            </a:r>
            <a:r>
              <a:rPr lang="en-US" sz="1800" dirty="0"/>
              <a:t>max trace length:  </a:t>
            </a:r>
            <a:r>
              <a:rPr lang="en-US" sz="1800" dirty="0">
                <a:solidFill>
                  <a:srgbClr val="C00000"/>
                </a:solidFill>
              </a:rPr>
              <a:t>127mm		</a:t>
            </a:r>
            <a:r>
              <a:rPr lang="en-US" sz="1800" dirty="0"/>
              <a:t>max trace length: </a:t>
            </a:r>
            <a:r>
              <a:rPr lang="en-US" sz="1800" dirty="0">
                <a:solidFill>
                  <a:srgbClr val="C00000"/>
                </a:solidFill>
              </a:rPr>
              <a:t>250mm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New Backplane realized with same number of layers (30) as the commonly used nVent SCHROFF 9 U 12 slot Chassis 11850-026 / 11850-027</a:t>
            </a:r>
            <a:endParaRPr lang="en-US" sz="1800" dirty="0"/>
          </a:p>
          <a:p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EDC49E7-E117-4912-A7B7-D58430503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F78611E-31A1-406C-87AE-D39698FBC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w Backplane Signal Integrity</a:t>
            </a:r>
            <a:endParaRPr lang="en-US" dirty="0"/>
          </a:p>
        </p:txBody>
      </p:sp>
      <p:grpSp>
        <p:nvGrpSpPr>
          <p:cNvPr id="179" name="Gruppieren 178">
            <a:extLst>
              <a:ext uri="{FF2B5EF4-FFF2-40B4-BE49-F238E27FC236}">
                <a16:creationId xmlns:a16="http://schemas.microsoft.com/office/drawing/2014/main" id="{99E6B7D8-2625-4F16-A87E-AA3C97E48C25}"/>
              </a:ext>
            </a:extLst>
          </p:cNvPr>
          <p:cNvGrpSpPr/>
          <p:nvPr/>
        </p:nvGrpSpPr>
        <p:grpSpPr>
          <a:xfrm>
            <a:off x="7982712" y="1430730"/>
            <a:ext cx="3904488" cy="1056438"/>
            <a:chOff x="3753393" y="1965960"/>
            <a:chExt cx="8213061" cy="1353801"/>
          </a:xfrm>
        </p:grpSpPr>
        <p:pic>
          <p:nvPicPr>
            <p:cNvPr id="180" name="Grafik 179">
              <a:extLst>
                <a:ext uri="{FF2B5EF4-FFF2-40B4-BE49-F238E27FC236}">
                  <a16:creationId xmlns:a16="http://schemas.microsoft.com/office/drawing/2014/main" id="{82DE551F-AFAE-4A4B-A047-C38D8D33C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53393" y="1965960"/>
              <a:ext cx="8213061" cy="1353801"/>
            </a:xfrm>
            <a:prstGeom prst="rect">
              <a:avLst/>
            </a:prstGeom>
          </p:spPr>
        </p:pic>
        <p:cxnSp>
          <p:nvCxnSpPr>
            <p:cNvPr id="181" name="Gerade Verbindung mit Pfeil 180">
              <a:extLst>
                <a:ext uri="{FF2B5EF4-FFF2-40B4-BE49-F238E27FC236}">
                  <a16:creationId xmlns:a16="http://schemas.microsoft.com/office/drawing/2014/main" id="{E853AF2D-1492-4FDD-887C-4169990750EF}"/>
                </a:ext>
              </a:extLst>
            </p:cNvPr>
            <p:cNvCxnSpPr>
              <a:cxnSpLocks/>
            </p:cNvCxnSpPr>
            <p:nvPr/>
          </p:nvCxnSpPr>
          <p:spPr>
            <a:xfrm>
              <a:off x="8161536" y="2351314"/>
              <a:ext cx="476794" cy="10886"/>
            </a:xfrm>
            <a:prstGeom prst="straightConnector1">
              <a:avLst/>
            </a:prstGeom>
            <a:ln w="31750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Gerade Verbindung mit Pfeil 181">
              <a:extLst>
                <a:ext uri="{FF2B5EF4-FFF2-40B4-BE49-F238E27FC236}">
                  <a16:creationId xmlns:a16="http://schemas.microsoft.com/office/drawing/2014/main" id="{97166099-A386-4D0C-B99A-40FBAA7090F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39716" y="2564674"/>
              <a:ext cx="3852000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5" descr="Ein Bild, das Im Haus, Text, Ofen enthält.&#10;&#10;Automatisch generierte Beschreibung">
            <a:extLst>
              <a:ext uri="{FF2B5EF4-FFF2-40B4-BE49-F238E27FC236}">
                <a16:creationId xmlns:a16="http://schemas.microsoft.com/office/drawing/2014/main" id="{78097845-E67F-B84E-47CE-111CAA96792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1232" y="4224192"/>
            <a:ext cx="4315968" cy="2069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264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21C6810E-B666-4CAD-85C6-F347350619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6427" y="933251"/>
            <a:ext cx="3799922" cy="540628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26CCEE-4E72-482E-8213-78E90B7236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5574" y="899696"/>
            <a:ext cx="3864766" cy="5414732"/>
          </a:xfrm>
          <a:prstGeom prst="rect">
            <a:avLst/>
          </a:prstGeom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4AF7F3E-6688-4132-A52D-3B26D222E24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41" y="1104900"/>
            <a:ext cx="3799922" cy="4838700"/>
          </a:xfrm>
        </p:spPr>
        <p:txBody>
          <a:bodyPr/>
          <a:lstStyle/>
          <a:p>
            <a:r>
              <a:rPr lang="de-DE" dirty="0"/>
              <a:t>New MCH </a:t>
            </a:r>
            <a:r>
              <a:rPr lang="de-DE" dirty="0" err="1"/>
              <a:t>location</a:t>
            </a:r>
            <a:r>
              <a:rPr lang="de-DE" dirty="0"/>
              <a:t> </a:t>
            </a:r>
            <a:r>
              <a:rPr lang="de-DE" dirty="0" err="1"/>
              <a:t>required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optimized</a:t>
            </a:r>
            <a:r>
              <a:rPr lang="de-DE" dirty="0"/>
              <a:t> </a:t>
            </a:r>
            <a:r>
              <a:rPr lang="de-DE" dirty="0" err="1"/>
              <a:t>routing</a:t>
            </a:r>
            <a:r>
              <a:rPr lang="de-DE" dirty="0"/>
              <a:t> </a:t>
            </a:r>
            <a:r>
              <a:rPr lang="de-DE" dirty="0" err="1"/>
              <a:t>strategy</a:t>
            </a:r>
            <a:endParaRPr lang="de-DE" dirty="0"/>
          </a:p>
          <a:p>
            <a:r>
              <a:rPr lang="de-DE" dirty="0"/>
              <a:t>NEW AMC </a:t>
            </a:r>
            <a:r>
              <a:rPr lang="de-DE" dirty="0" err="1"/>
              <a:t>module</a:t>
            </a:r>
            <a:r>
              <a:rPr lang="de-DE" dirty="0"/>
              <a:t>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(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):</a:t>
            </a:r>
          </a:p>
          <a:p>
            <a:pPr lvl="1"/>
            <a:r>
              <a:rPr lang="en-US" sz="1800" dirty="0">
                <a:effectLst/>
                <a:latin typeface="Calibri" panose="020F0502020204030204" pitchFamily="34" charset="0"/>
                <a:ea typeface="DengXian" panose="02010600030101010101" pitchFamily="2" charset="-122"/>
              </a:rPr>
              <a:t>7-8-9-10-11-12-MCH1-MCH2-6-5-4-3-2-1</a:t>
            </a: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Topology:</a:t>
            </a:r>
          </a:p>
          <a:p>
            <a:pPr lvl="1"/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Physical module interconnects are (except Port 14 &amp; 15) similar</a:t>
            </a:r>
          </a:p>
          <a:p>
            <a:pPr lvl="1"/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Logical module position differs</a:t>
            </a: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“Daisy Chain Return Channel” (Port 14 &amp; 15) is different to achieve max. trace length &lt; 250 mm</a:t>
            </a:r>
          </a:p>
          <a:p>
            <a:pPr lvl="1"/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26AE96-B2E2-4715-91C0-B3EAB4F37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imilar</a:t>
            </a:r>
            <a:r>
              <a:rPr lang="de-DE" dirty="0"/>
              <a:t> Backplane </a:t>
            </a:r>
            <a:r>
              <a:rPr lang="de-DE" dirty="0" err="1"/>
              <a:t>Topology</a:t>
            </a:r>
            <a:r>
              <a:rPr lang="de-DE" dirty="0"/>
              <a:t> BUT different </a:t>
            </a:r>
            <a:r>
              <a:rPr lang="de-DE" dirty="0" err="1"/>
              <a:t>physical</a:t>
            </a:r>
            <a:r>
              <a:rPr lang="de-DE" dirty="0"/>
              <a:t> AMC </a:t>
            </a:r>
            <a:r>
              <a:rPr lang="de-DE" dirty="0" err="1"/>
              <a:t>locations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A293AD-48A4-420F-8FBE-92EA30AA4A79}"/>
              </a:ext>
            </a:extLst>
          </p:cNvPr>
          <p:cNvSpPr txBox="1"/>
          <p:nvPr/>
        </p:nvSpPr>
        <p:spPr>
          <a:xfrm>
            <a:off x="6369306" y="5758142"/>
            <a:ext cx="1472339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rgbClr val="C00000"/>
                </a:solidFill>
              </a:rPr>
              <a:t>old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67F68F7-7092-4259-AAAF-B191C7241549}"/>
              </a:ext>
            </a:extLst>
          </p:cNvPr>
          <p:cNvSpPr txBox="1"/>
          <p:nvPr/>
        </p:nvSpPr>
        <p:spPr>
          <a:xfrm>
            <a:off x="10562095" y="5765368"/>
            <a:ext cx="1299856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rgbClr val="C00000"/>
                </a:solidFill>
              </a:rPr>
              <a:t>NEW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2558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21C6810E-B666-4CAD-85C6-F347350619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3074" y="889047"/>
            <a:ext cx="5325826" cy="229112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26CCEE-4E72-482E-8213-78E90B7236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5321" y="3529583"/>
            <a:ext cx="5416711" cy="2455627"/>
          </a:xfrm>
          <a:prstGeom prst="rect">
            <a:avLst/>
          </a:prstGeom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4AF7F3E-6688-4132-A52D-3B26D222E24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8283" y="1000505"/>
            <a:ext cx="5416711" cy="4838700"/>
          </a:xfrm>
        </p:spPr>
        <p:txBody>
          <a:bodyPr/>
          <a:lstStyle/>
          <a:p>
            <a:r>
              <a:rPr lang="de-DE" dirty="0"/>
              <a:t>Common </a:t>
            </a:r>
            <a:r>
              <a:rPr lang="de-DE" dirty="0" err="1"/>
              <a:t>options</a:t>
            </a:r>
            <a:r>
              <a:rPr lang="de-DE" dirty="0"/>
              <a:t>, </a:t>
            </a:r>
            <a:r>
              <a:rPr lang="de-DE" dirty="0" err="1"/>
              <a:t>fat</a:t>
            </a:r>
            <a:r>
              <a:rPr lang="de-DE" dirty="0"/>
              <a:t> </a:t>
            </a:r>
            <a:r>
              <a:rPr lang="de-DE" dirty="0" err="1"/>
              <a:t>pipe</a:t>
            </a:r>
            <a:r>
              <a:rPr lang="de-DE" dirty="0"/>
              <a:t>, JSM </a:t>
            </a:r>
            <a:r>
              <a:rPr lang="de-DE" dirty="0" err="1"/>
              <a:t>connections</a:t>
            </a:r>
            <a:r>
              <a:rPr lang="de-DE" dirty="0"/>
              <a:t> etc.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imilar</a:t>
            </a:r>
            <a:r>
              <a:rPr lang="de-DE" dirty="0"/>
              <a:t>, </a:t>
            </a:r>
            <a:r>
              <a:rPr lang="de-DE" dirty="0" err="1"/>
              <a:t>looks</a:t>
            </a:r>
            <a:r>
              <a:rPr lang="de-DE" dirty="0"/>
              <a:t> different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MCH </a:t>
            </a:r>
            <a:r>
              <a:rPr lang="de-DE" dirty="0" err="1"/>
              <a:t>slots</a:t>
            </a:r>
            <a:r>
              <a:rPr lang="de-DE" dirty="0"/>
              <a:t> </a:t>
            </a:r>
            <a:r>
              <a:rPr lang="de-DE" dirty="0" err="1"/>
              <a:t>mov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iddle</a:t>
            </a:r>
            <a:endParaRPr lang="de-DE" dirty="0"/>
          </a:p>
          <a:p>
            <a:endParaRPr lang="de-DE" dirty="0"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r>
              <a:rPr lang="en-US" b="1" dirty="0">
                <a:latin typeface="Calibri" panose="020F0502020204030204" pitchFamily="34" charset="0"/>
                <a:ea typeface="DengXian" panose="02010600030101010101" pitchFamily="2" charset="-122"/>
              </a:rPr>
              <a:t>Logical AMC module position is changed</a:t>
            </a: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indent="0">
              <a:buNone/>
            </a:pPr>
            <a:endParaRPr lang="en-US" dirty="0"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pPr marL="0" indent="0">
              <a:buNone/>
            </a:pPr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	         1  2   3   4  5   6   7   8  9  10 11 12</a:t>
            </a:r>
          </a:p>
          <a:p>
            <a:pPr marL="228600" lvl="1" indent="0">
              <a:buNone/>
            </a:pPr>
            <a:endParaRPr lang="en-US" dirty="0"/>
          </a:p>
          <a:p>
            <a:pPr marL="228600" lvl="1" indent="0">
              <a:buNone/>
            </a:pPr>
            <a:endParaRPr lang="en-US" dirty="0"/>
          </a:p>
          <a:p>
            <a:pPr marL="228600" lvl="1" indent="0">
              <a:buNone/>
            </a:pPr>
            <a:endParaRPr lang="en-US" dirty="0"/>
          </a:p>
          <a:p>
            <a:pPr marL="228600" lvl="1" indent="0">
              <a:buNone/>
            </a:pPr>
            <a:endParaRPr lang="en-US" dirty="0"/>
          </a:p>
          <a:p>
            <a:pPr marL="0" lvl="1" indent="0">
              <a:buSzPct val="90000"/>
              <a:buNone/>
            </a:pPr>
            <a:r>
              <a:rPr lang="en-US" sz="1800" dirty="0">
                <a:latin typeface="Calibri" panose="020F0502020204030204" pitchFamily="34" charset="0"/>
                <a:ea typeface="DengXian" panose="02010600030101010101" pitchFamily="2" charset="-122"/>
              </a:rPr>
              <a:t>	    7  8  9  10 11 12          6  5   4   3   2   1</a:t>
            </a:r>
          </a:p>
          <a:p>
            <a:pPr marL="228600" lvl="1" indent="0">
              <a:buNone/>
            </a:pPr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26AE96-B2E2-4715-91C0-B3EAB4F37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imilar</a:t>
            </a:r>
            <a:r>
              <a:rPr lang="de-DE" dirty="0"/>
              <a:t> Backplane </a:t>
            </a:r>
            <a:r>
              <a:rPr lang="de-DE" dirty="0" err="1"/>
              <a:t>Topology</a:t>
            </a:r>
            <a:r>
              <a:rPr lang="de-DE" dirty="0"/>
              <a:t>, </a:t>
            </a:r>
            <a:r>
              <a:rPr lang="de-DE" dirty="0" err="1"/>
              <a:t>details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A293AD-48A4-420F-8FBE-92EA30AA4A79}"/>
              </a:ext>
            </a:extLst>
          </p:cNvPr>
          <p:cNvSpPr txBox="1"/>
          <p:nvPr/>
        </p:nvSpPr>
        <p:spPr>
          <a:xfrm>
            <a:off x="359816" y="3174310"/>
            <a:ext cx="1205899" cy="326499"/>
          </a:xfrm>
          <a:prstGeom prst="rect">
            <a:avLst/>
          </a:prstGeom>
          <a:solidFill>
            <a:schemeClr val="accent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solidFill>
                  <a:srgbClr val="C00000"/>
                </a:solidFill>
              </a:rPr>
              <a:t>old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C1A73CC-8C2A-442B-8963-2AE774EC3B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3074" y="3119549"/>
            <a:ext cx="5321309" cy="43602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04FBA92-3247-19E7-E51E-B7F928BF29F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5321" y="5973572"/>
            <a:ext cx="5416711" cy="333213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667F68F7-7092-4259-AAAF-B191C7241549}"/>
              </a:ext>
            </a:extLst>
          </p:cNvPr>
          <p:cNvSpPr txBox="1"/>
          <p:nvPr/>
        </p:nvSpPr>
        <p:spPr>
          <a:xfrm>
            <a:off x="6002043" y="3529583"/>
            <a:ext cx="1299856" cy="296558"/>
          </a:xfrm>
          <a:prstGeom prst="rect">
            <a:avLst/>
          </a:prstGeom>
          <a:solidFill>
            <a:schemeClr val="accent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rgbClr val="C00000"/>
                </a:solidFill>
              </a:rPr>
              <a:t>NEW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B748F33-8D1D-A586-4DB4-DD9F4CDF108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516" y="3982503"/>
            <a:ext cx="5321309" cy="58430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5BA0286-59DC-E417-3994-242170751EA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816" y="5621194"/>
            <a:ext cx="5416711" cy="436022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DFFF589A-04A9-6C01-1741-6E832AFEC6E8}"/>
              </a:ext>
            </a:extLst>
          </p:cNvPr>
          <p:cNvSpPr txBox="1"/>
          <p:nvPr/>
        </p:nvSpPr>
        <p:spPr>
          <a:xfrm>
            <a:off x="6049021" y="889047"/>
            <a:ext cx="1205899" cy="326499"/>
          </a:xfrm>
          <a:prstGeom prst="rect">
            <a:avLst/>
          </a:prstGeom>
          <a:solidFill>
            <a:schemeClr val="accent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400" dirty="0" err="1">
                <a:solidFill>
                  <a:srgbClr val="C00000"/>
                </a:solidFill>
              </a:rPr>
              <a:t>old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F112F7C-4A52-503D-7BC1-D4D4CF9E5EEC}"/>
              </a:ext>
            </a:extLst>
          </p:cNvPr>
          <p:cNvSpPr txBox="1"/>
          <p:nvPr/>
        </p:nvSpPr>
        <p:spPr>
          <a:xfrm>
            <a:off x="359816" y="4797441"/>
            <a:ext cx="1299856" cy="296558"/>
          </a:xfrm>
          <a:prstGeom prst="rect">
            <a:avLst/>
          </a:prstGeom>
          <a:solidFill>
            <a:schemeClr val="accent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rgbClr val="C00000"/>
                </a:solidFill>
              </a:rPr>
              <a:t>NEW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6099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21C6810E-B666-4CAD-85C6-F347350619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3506" y="1391878"/>
            <a:ext cx="5118445" cy="124461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026CCEE-4E72-482E-8213-78E90B7236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370" y="3783506"/>
            <a:ext cx="5491830" cy="1244609"/>
          </a:xfrm>
          <a:prstGeom prst="rect">
            <a:avLst/>
          </a:prstGeom>
        </p:spPr>
      </p:pic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4AF7F3E-6688-4132-A52D-3B26D222E24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8" y="1037311"/>
            <a:ext cx="5826761" cy="4838700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“Daisy Chain Return Channel” (Port 14 &amp; 15) is different to achieve max. trace length &lt; 250 mm</a:t>
            </a: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Different “logical” AMC module connections!</a:t>
            </a:r>
          </a:p>
          <a:p>
            <a:endParaRPr lang="en-US" dirty="0">
              <a:latin typeface="Calibri" panose="020F0502020204030204" pitchFamily="34" charset="0"/>
              <a:ea typeface="DengXian" panose="02010600030101010101" pitchFamily="2" charset="-122"/>
            </a:endParaRPr>
          </a:p>
          <a:p>
            <a:r>
              <a:rPr lang="en-US" dirty="0">
                <a:latin typeface="Calibri" panose="020F0502020204030204" pitchFamily="34" charset="0"/>
                <a:ea typeface="DengXian" panose="02010600030101010101" pitchFamily="2" charset="-122"/>
              </a:rPr>
              <a:t>Power lines to Cooling units and MCH’s are updated to handle 110 W</a:t>
            </a:r>
          </a:p>
          <a:p>
            <a:pPr lvl="1"/>
            <a:endParaRPr lang="en-US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C26AE96-B2E2-4715-91C0-B3EAB4F37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imilar</a:t>
            </a:r>
            <a:r>
              <a:rPr lang="de-DE" dirty="0"/>
              <a:t> Backplane </a:t>
            </a:r>
            <a:r>
              <a:rPr lang="de-DE" dirty="0" err="1"/>
              <a:t>Topology</a:t>
            </a:r>
            <a:r>
              <a:rPr lang="de-DE" dirty="0"/>
              <a:t>, </a:t>
            </a:r>
            <a:r>
              <a:rPr lang="de-DE" dirty="0" err="1"/>
              <a:t>details</a:t>
            </a:r>
            <a:endParaRPr lang="en-US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3A293AD-48A4-420F-8FBE-92EA30AA4A79}"/>
              </a:ext>
            </a:extLst>
          </p:cNvPr>
          <p:cNvSpPr txBox="1"/>
          <p:nvPr/>
        </p:nvSpPr>
        <p:spPr>
          <a:xfrm>
            <a:off x="6836158" y="1037311"/>
            <a:ext cx="1472339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 err="1">
                <a:solidFill>
                  <a:srgbClr val="C00000"/>
                </a:solidFill>
              </a:rPr>
              <a:t>old</a:t>
            </a:r>
            <a:r>
              <a:rPr lang="de-DE" sz="1400" dirty="0">
                <a:solidFill>
                  <a:srgbClr val="C00000"/>
                </a:solidFill>
              </a:rPr>
              <a:t>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67F68F7-7092-4259-AAAF-B191C7241549}"/>
              </a:ext>
            </a:extLst>
          </p:cNvPr>
          <p:cNvSpPr txBox="1"/>
          <p:nvPr/>
        </p:nvSpPr>
        <p:spPr>
          <a:xfrm>
            <a:off x="6836158" y="3428018"/>
            <a:ext cx="1299856" cy="33321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400" dirty="0">
                <a:solidFill>
                  <a:srgbClr val="C00000"/>
                </a:solidFill>
              </a:rPr>
              <a:t>NEW </a:t>
            </a:r>
            <a:r>
              <a:rPr lang="de-DE" sz="1400" dirty="0" err="1">
                <a:solidFill>
                  <a:srgbClr val="C00000"/>
                </a:solidFill>
              </a:rPr>
              <a:t>topology</a:t>
            </a:r>
            <a:endParaRPr lang="en-US" sz="1400" dirty="0" err="1">
              <a:solidFill>
                <a:srgbClr val="C00000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53B9128-1A7E-A08E-167B-A6424F4ABCA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401"/>
          <a:stretch/>
        </p:blipFill>
        <p:spPr>
          <a:xfrm>
            <a:off x="6395372" y="5027091"/>
            <a:ext cx="5491828" cy="56692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5C1BF1-B987-CAD1-E04C-F105D76C0E0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3503" y="2635462"/>
            <a:ext cx="5118448" cy="420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043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64B75B11-8125-4CFF-A48A-AD61152167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Cooling Unit update</a:t>
            </a:r>
            <a:endParaRPr lang="en-US" dirty="0"/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2317FD40-EB3B-44BA-83FF-DD3A106F6E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2925" y="2534473"/>
            <a:ext cx="4714869" cy="1011159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21851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776518D458864597E93796ADAE7EFB" ma:contentTypeVersion="18" ma:contentTypeDescription="Create a new document." ma:contentTypeScope="" ma:versionID="32b8c29c3ba3879ecf9625dad6cef2ab">
  <xsd:schema xmlns:xsd="http://www.w3.org/2001/XMLSchema" xmlns:xs="http://www.w3.org/2001/XMLSchema" xmlns:p="http://schemas.microsoft.com/office/2006/metadata/properties" xmlns:ns2="a89e78e8-2a14-4239-aa26-b8bedcfb8292" xmlns:ns3="3e14e990-a917-40ee-b9c2-bf5a9a2f53f4" xmlns:ns4="a627aead-e673-43e7-a6d0-748d481e96aa" targetNamespace="http://schemas.microsoft.com/office/2006/metadata/properties" ma:root="true" ma:fieldsID="e4cdb7a734cc2d2b27f63458697d84c1" ns2:_="" ns3:_="" ns4:_="">
    <xsd:import namespace="a89e78e8-2a14-4239-aa26-b8bedcfb8292"/>
    <xsd:import namespace="3e14e990-a917-40ee-b9c2-bf5a9a2f53f4"/>
    <xsd:import namespace="a627aead-e673-43e7-a6d0-748d481e96a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9e78e8-2a14-4239-aa26-b8bedcfb829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14e990-a917-40ee-b9c2-bf5a9a2f53f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61afc70-17ef-48e8-9522-1fbc9f28e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27aead-e673-43e7-a6d0-748d481e96aa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111cfa04-f750-41cd-83c3-97adb21fac69}" ma:internalName="TaxCatchAll" ma:showField="CatchAllData" ma:web="a627aead-e673-43e7-a6d0-748d481e96a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3e14e990-a917-40ee-b9c2-bf5a9a2f53f4" xsi:nil="true"/>
    <SharedWithUsers xmlns="a89e78e8-2a14-4239-aa26-b8bedcfb8292">
      <UserInfo>
        <DisplayName/>
        <AccountId xsi:nil="true"/>
        <AccountType/>
      </UserInfo>
    </SharedWithUsers>
    <lcf76f155ced4ddcb4097134ff3c332f xmlns="3e14e990-a917-40ee-b9c2-bf5a9a2f53f4">
      <Terms xmlns="http://schemas.microsoft.com/office/infopath/2007/PartnerControls"/>
    </lcf76f155ced4ddcb4097134ff3c332f>
    <TaxCatchAll xmlns="a627aead-e673-43e7-a6d0-748d481e96aa" xsi:nil="true"/>
  </documentManagement>
</p:properties>
</file>

<file path=customXml/itemProps1.xml><?xml version="1.0" encoding="utf-8"?>
<ds:datastoreItem xmlns:ds="http://schemas.openxmlformats.org/officeDocument/2006/customXml" ds:itemID="{2CAC13F4-C283-44FC-BC26-0520485022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9e78e8-2a14-4239-aa26-b8bedcfb8292"/>
    <ds:schemaRef ds:uri="3e14e990-a917-40ee-b9c2-bf5a9a2f53f4"/>
    <ds:schemaRef ds:uri="a627aead-e673-43e7-a6d0-748d481e96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ADB305-E294-4EB3-9C3B-43517B28B3E2}">
  <ds:schemaRefs>
    <ds:schemaRef ds:uri="http://schemas.microsoft.com/office/2006/documentManagement/types"/>
    <ds:schemaRef ds:uri="http://purl.org/dc/dcmitype/"/>
    <ds:schemaRef ds:uri="a89e78e8-2a14-4239-aa26-b8bedcfb8292"/>
    <ds:schemaRef ds:uri="http://schemas.microsoft.com/office/2006/metadata/properties"/>
    <ds:schemaRef ds:uri="a627aead-e673-43e7-a6d0-748d481e96aa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3e14e990-a917-40ee-b9c2-bf5a9a2f53f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0</TotalTime>
  <Words>651</Words>
  <Application>Microsoft Office PowerPoint</Application>
  <PresentationFormat>Widescreen</PresentationFormat>
  <Paragraphs>89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DengXian</vt:lpstr>
      <vt:lpstr>ＭＳ Ｐゴシック</vt:lpstr>
      <vt:lpstr>Arial</vt:lpstr>
      <vt:lpstr>Calibri</vt:lpstr>
      <vt:lpstr>Roboto</vt:lpstr>
      <vt:lpstr>Roboto Light</vt:lpstr>
      <vt:lpstr>Symbol</vt:lpstr>
      <vt:lpstr>Wingdings</vt:lpstr>
      <vt:lpstr>Bottomblack1</vt:lpstr>
      <vt:lpstr>think-cell Slide</vt:lpstr>
      <vt:lpstr>PowerPoint Presentation</vt:lpstr>
      <vt:lpstr>Next Generation MicroTCA </vt:lpstr>
      <vt:lpstr>NEW MTCA.0 Rev 3.0 compliant backplane</vt:lpstr>
      <vt:lpstr>New Backplane Design</vt:lpstr>
      <vt:lpstr>New Backplane Signal Integrity</vt:lpstr>
      <vt:lpstr>Similar Backplane Topology BUT different physical AMC locations</vt:lpstr>
      <vt:lpstr>Similar Backplane Topology, details</vt:lpstr>
      <vt:lpstr>Similar Backplane Topology, details</vt:lpstr>
      <vt:lpstr>Cooling Unit update</vt:lpstr>
      <vt:lpstr>Current nVent SCHROFF Cooling Unit</vt:lpstr>
      <vt:lpstr>NEW Cooling Unit Manager </vt:lpstr>
      <vt:lpstr>Thank You!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Ayvazyan, Gohar</cp:lastModifiedBy>
  <cp:revision>8</cp:revision>
  <cp:lastPrinted>2020-04-20T11:01:46Z</cp:lastPrinted>
  <dcterms:created xsi:type="dcterms:W3CDTF">2020-01-13T08:28:04Z</dcterms:created>
  <dcterms:modified xsi:type="dcterms:W3CDTF">2024-12-11T09:1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776518D458864597E93796ADAE7EFB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  <property fmtid="{D5CDD505-2E9C-101B-9397-08002B2CF9AE}" pid="16" name="ComplianceAssetId">
    <vt:lpwstr/>
  </property>
  <property fmtid="{D5CDD505-2E9C-101B-9397-08002B2CF9AE}" pid="17" name="_ExtendedDescription">
    <vt:lpwstr/>
  </property>
  <property fmtid="{D5CDD505-2E9C-101B-9397-08002B2CF9AE}" pid="18" name="TriggerFlowInfo">
    <vt:lpwstr/>
  </property>
  <property fmtid="{D5CDD505-2E9C-101B-9397-08002B2CF9AE}" pid="19" name="MediaServiceImageTags">
    <vt:lpwstr/>
  </property>
</Properties>
</file>